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48" r:id="rId1"/>
  </p:sldMasterIdLst>
  <p:notesMasterIdLst>
    <p:notesMasterId r:id="rId5"/>
  </p:notesMasterIdLst>
  <p:sldIdLst>
    <p:sldId id="256" r:id="rId3"/>
    <p:sldId id="257" r:id="rId4"/>
  </p:sldIdLst>
  <p:sldSz cx="9144000" cy="5143500" type="screen16x9"/>
  <p:notesSz cx="9144000" cy="51435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94D80"/>
    <a:srgbClr val="DBE4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695" autoAdjust="0"/>
    <p:restoredTop sz="94660"/>
  </p:normalViewPr>
  <p:slideViewPr>
    <p:cSldViewPr>
      <p:cViewPr varScale="1">
        <p:scale>
          <a:sx n="96" d="100"/>
          <a:sy n="96" d="100"/>
        </p:scale>
        <p:origin x="1450" y="72"/>
      </p:cViewPr>
      <p:guideLst>
        <p:guide orient="horz" pos="2868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tags" Target="tags/tag4.xml"/><Relationship Id="rId8" Type="http://schemas.openxmlformats.org/officeDocument/2006/relationships/tableStyles" Target="tableStyles.xml"/><Relationship Id="rId7" Type="http://schemas.openxmlformats.org/officeDocument/2006/relationships/viewProps" Target="viewProps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257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257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654BF8-669C-4A7B-8E7E-21D24399430A}" type="datetimeFigureOut">
              <a:rPr lang="en-AU" smtClean="0"/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028950" y="642938"/>
            <a:ext cx="3086100" cy="1736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2474913"/>
            <a:ext cx="7315200" cy="20256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4886325"/>
            <a:ext cx="3962400" cy="257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4886325"/>
            <a:ext cx="3962400" cy="257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054E1-34BD-4C1E-9CE8-D6ACFAB52844}" type="slidenum">
              <a:rPr lang="en-AU" smtClean="0"/>
            </a:fld>
            <a:endParaRPr lang="en-A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4054E1-34BD-4C1E-9CE8-D6ACFAB52844}" type="slidenum">
              <a:rPr lang="en-AU" smtClean="0"/>
            </a:fld>
            <a:endParaRPr lang="en-A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1594485"/>
            <a:ext cx="7772400" cy="1080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/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2880360"/>
            <a:ext cx="6400800" cy="12858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/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094D80"/>
                </a:solidFill>
                <a:latin typeface="Arial" panose="020B0604020202020204"/>
                <a:cs typeface="Arial" panose="020B0604020202020204"/>
              </a:defRPr>
            </a:lvl1pPr>
          </a:lstStyle>
          <a:p/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rgbClr val="415363"/>
                </a:solidFill>
                <a:latin typeface="Arial" panose="020B0604020202020204"/>
                <a:cs typeface="Arial" panose="020B0604020202020204"/>
              </a:defRPr>
            </a:lvl1pPr>
          </a:lstStyle>
          <a:p/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094D80"/>
                </a:solidFill>
                <a:latin typeface="Arial" panose="020B0604020202020204"/>
                <a:cs typeface="Arial" panose="020B0604020202020204"/>
              </a:defRPr>
            </a:lvl1pPr>
          </a:lstStyle>
          <a:p/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183005"/>
            <a:ext cx="3977640" cy="33947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/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183005"/>
            <a:ext cx="3977640" cy="33947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/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094D80"/>
                </a:solidFill>
                <a:latin typeface="Arial" panose="020B0604020202020204"/>
                <a:cs typeface="Arial" panose="020B0604020202020204"/>
              </a:defRPr>
            </a:lvl1pPr>
          </a:lstStyle>
          <a:p/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image" Target="../media/image2.png"/><Relationship Id="rId8" Type="http://schemas.openxmlformats.org/officeDocument/2006/relationships/image" Target="../media/image1.emf"/><Relationship Id="rId7" Type="http://schemas.openxmlformats.org/officeDocument/2006/relationships/oleObject" Target="../embeddings/oleObject1.bin"/><Relationship Id="rId6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1" Type="http://schemas.openxmlformats.org/officeDocument/2006/relationships/theme" Target="../theme/theme1.xml"/><Relationship Id="rId1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Picture 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g object 16"/>
          <p:cNvSpPr/>
          <p:nvPr/>
        </p:nvSpPr>
        <p:spPr>
          <a:xfrm>
            <a:off x="0" y="4568952"/>
            <a:ext cx="9144000" cy="0"/>
          </a:xfrm>
          <a:custGeom>
            <a:avLst/>
            <a:gdLst/>
            <a:ahLst/>
            <a:cxnLst/>
            <a:rect l="l" t="t" r="r" b="b"/>
            <a:pathLst>
              <a:path w="9144000">
                <a:moveTo>
                  <a:pt x="0" y="0"/>
                </a:moveTo>
                <a:lnTo>
                  <a:pt x="9144000" y="0"/>
                </a:lnTo>
              </a:path>
            </a:pathLst>
          </a:custGeom>
          <a:ln w="9144">
            <a:solidFill>
              <a:srgbClr val="094D80"/>
            </a:solidFill>
          </a:ln>
        </p:spPr>
        <p:txBody>
          <a:bodyPr wrap="square" lIns="0" tIns="0" rIns="0" bIns="0" rtlCol="0"/>
          <a:lstStyle/>
          <a:p/>
        </p:txBody>
      </p:sp>
      <p:sp>
        <p:nvSpPr>
          <p:cNvPr id="17" name="bg object 17"/>
          <p:cNvSpPr/>
          <p:nvPr/>
        </p:nvSpPr>
        <p:spPr>
          <a:xfrm>
            <a:off x="7531693" y="4669126"/>
            <a:ext cx="348615" cy="352425"/>
          </a:xfrm>
          <a:custGeom>
            <a:avLst/>
            <a:gdLst/>
            <a:ahLst/>
            <a:cxnLst/>
            <a:rect l="l" t="t" r="r" b="b"/>
            <a:pathLst>
              <a:path w="348615" h="352425">
                <a:moveTo>
                  <a:pt x="348370" y="0"/>
                </a:moveTo>
                <a:lnTo>
                  <a:pt x="0" y="0"/>
                </a:lnTo>
                <a:lnTo>
                  <a:pt x="0" y="352046"/>
                </a:lnTo>
                <a:lnTo>
                  <a:pt x="348370" y="352046"/>
                </a:lnTo>
                <a:lnTo>
                  <a:pt x="348370" y="0"/>
                </a:lnTo>
                <a:close/>
              </a:path>
            </a:pathLst>
          </a:custGeom>
          <a:solidFill>
            <a:srgbClr val="B72E2A"/>
          </a:solidFill>
        </p:spPr>
        <p:txBody>
          <a:bodyPr wrap="square" lIns="0" tIns="0" rIns="0" bIns="0" rtlCol="0"/>
          <a:lstStyle/>
          <a:p/>
        </p:txBody>
      </p:sp>
      <p:pic>
        <p:nvPicPr>
          <p:cNvPr id="18" name="bg object 18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7643787" y="4749304"/>
            <a:ext cx="125798" cy="204306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7941742" y="4724882"/>
            <a:ext cx="737870" cy="296545"/>
          </a:xfrm>
          <a:custGeom>
            <a:avLst/>
            <a:gdLst/>
            <a:ahLst/>
            <a:cxnLst/>
            <a:rect l="l" t="t" r="r" b="b"/>
            <a:pathLst>
              <a:path w="737870" h="296545">
                <a:moveTo>
                  <a:pt x="25806" y="256413"/>
                </a:moveTo>
                <a:lnTo>
                  <a:pt x="16535" y="256413"/>
                </a:lnTo>
                <a:lnTo>
                  <a:pt x="16535" y="295478"/>
                </a:lnTo>
                <a:lnTo>
                  <a:pt x="25806" y="295478"/>
                </a:lnTo>
                <a:lnTo>
                  <a:pt x="25806" y="256413"/>
                </a:lnTo>
                <a:close/>
              </a:path>
              <a:path w="737870" h="296545">
                <a:moveTo>
                  <a:pt x="83870" y="256006"/>
                </a:moveTo>
                <a:lnTo>
                  <a:pt x="74599" y="256006"/>
                </a:lnTo>
                <a:lnTo>
                  <a:pt x="74599" y="278384"/>
                </a:lnTo>
                <a:lnTo>
                  <a:pt x="60083" y="256006"/>
                </a:lnTo>
                <a:lnTo>
                  <a:pt x="50812" y="256006"/>
                </a:lnTo>
                <a:lnTo>
                  <a:pt x="50812" y="295478"/>
                </a:lnTo>
                <a:lnTo>
                  <a:pt x="60083" y="295478"/>
                </a:lnTo>
                <a:lnTo>
                  <a:pt x="60083" y="273100"/>
                </a:lnTo>
                <a:lnTo>
                  <a:pt x="74599" y="295478"/>
                </a:lnTo>
                <a:lnTo>
                  <a:pt x="83870" y="295478"/>
                </a:lnTo>
                <a:lnTo>
                  <a:pt x="83870" y="256006"/>
                </a:lnTo>
                <a:close/>
              </a:path>
              <a:path w="737870" h="296545">
                <a:moveTo>
                  <a:pt x="105244" y="24422"/>
                </a:moveTo>
                <a:lnTo>
                  <a:pt x="16535" y="24422"/>
                </a:lnTo>
                <a:lnTo>
                  <a:pt x="16535" y="85471"/>
                </a:lnTo>
                <a:lnTo>
                  <a:pt x="0" y="85471"/>
                </a:lnTo>
                <a:lnTo>
                  <a:pt x="0" y="105016"/>
                </a:lnTo>
                <a:lnTo>
                  <a:pt x="16535" y="105016"/>
                </a:lnTo>
                <a:lnTo>
                  <a:pt x="16535" y="116408"/>
                </a:lnTo>
                <a:lnTo>
                  <a:pt x="0" y="116408"/>
                </a:lnTo>
                <a:lnTo>
                  <a:pt x="0" y="135534"/>
                </a:lnTo>
                <a:lnTo>
                  <a:pt x="16535" y="135534"/>
                </a:lnTo>
                <a:lnTo>
                  <a:pt x="16535" y="196583"/>
                </a:lnTo>
                <a:lnTo>
                  <a:pt x="50812" y="196583"/>
                </a:lnTo>
                <a:lnTo>
                  <a:pt x="50812" y="135534"/>
                </a:lnTo>
                <a:lnTo>
                  <a:pt x="83070" y="135534"/>
                </a:lnTo>
                <a:lnTo>
                  <a:pt x="91541" y="116408"/>
                </a:lnTo>
                <a:lnTo>
                  <a:pt x="50812" y="116408"/>
                </a:lnTo>
                <a:lnTo>
                  <a:pt x="50812" y="105016"/>
                </a:lnTo>
                <a:lnTo>
                  <a:pt x="96774" y="105016"/>
                </a:lnTo>
                <a:lnTo>
                  <a:pt x="105244" y="85471"/>
                </a:lnTo>
                <a:lnTo>
                  <a:pt x="50812" y="85471"/>
                </a:lnTo>
                <a:lnTo>
                  <a:pt x="50812" y="52501"/>
                </a:lnTo>
                <a:lnTo>
                  <a:pt x="105244" y="52501"/>
                </a:lnTo>
                <a:lnTo>
                  <a:pt x="105244" y="24422"/>
                </a:lnTo>
                <a:close/>
              </a:path>
              <a:path w="737870" h="296545">
                <a:moveTo>
                  <a:pt x="132676" y="256006"/>
                </a:moveTo>
                <a:lnTo>
                  <a:pt x="105244" y="256006"/>
                </a:lnTo>
                <a:lnTo>
                  <a:pt x="105244" y="263740"/>
                </a:lnTo>
                <a:lnTo>
                  <a:pt x="114134" y="263740"/>
                </a:lnTo>
                <a:lnTo>
                  <a:pt x="114134" y="295478"/>
                </a:lnTo>
                <a:lnTo>
                  <a:pt x="123812" y="295478"/>
                </a:lnTo>
                <a:lnTo>
                  <a:pt x="123812" y="263740"/>
                </a:lnTo>
                <a:lnTo>
                  <a:pt x="132676" y="263740"/>
                </a:lnTo>
                <a:lnTo>
                  <a:pt x="132676" y="256006"/>
                </a:lnTo>
                <a:close/>
              </a:path>
              <a:path w="737870" h="296545">
                <a:moveTo>
                  <a:pt x="154444" y="85064"/>
                </a:moveTo>
                <a:lnTo>
                  <a:pt x="120154" y="85064"/>
                </a:lnTo>
                <a:lnTo>
                  <a:pt x="120154" y="196176"/>
                </a:lnTo>
                <a:lnTo>
                  <a:pt x="154444" y="196176"/>
                </a:lnTo>
                <a:lnTo>
                  <a:pt x="154444" y="85064"/>
                </a:lnTo>
                <a:close/>
              </a:path>
              <a:path w="737870" h="296545">
                <a:moveTo>
                  <a:pt x="155257" y="37858"/>
                </a:moveTo>
                <a:lnTo>
                  <a:pt x="153720" y="30937"/>
                </a:lnTo>
                <a:lnTo>
                  <a:pt x="149656" y="25234"/>
                </a:lnTo>
                <a:lnTo>
                  <a:pt x="143852" y="21374"/>
                </a:lnTo>
                <a:lnTo>
                  <a:pt x="137083" y="19951"/>
                </a:lnTo>
                <a:lnTo>
                  <a:pt x="130009" y="21551"/>
                </a:lnTo>
                <a:lnTo>
                  <a:pt x="124256" y="25742"/>
                </a:lnTo>
                <a:lnTo>
                  <a:pt x="120383" y="31623"/>
                </a:lnTo>
                <a:lnTo>
                  <a:pt x="118973" y="38265"/>
                </a:lnTo>
                <a:lnTo>
                  <a:pt x="120383" y="44907"/>
                </a:lnTo>
                <a:lnTo>
                  <a:pt x="124256" y="50774"/>
                </a:lnTo>
                <a:lnTo>
                  <a:pt x="130009" y="54978"/>
                </a:lnTo>
                <a:lnTo>
                  <a:pt x="137083" y="56578"/>
                </a:lnTo>
                <a:lnTo>
                  <a:pt x="144183" y="55029"/>
                </a:lnTo>
                <a:lnTo>
                  <a:pt x="149961" y="50876"/>
                </a:lnTo>
                <a:lnTo>
                  <a:pt x="153835" y="44907"/>
                </a:lnTo>
                <a:lnTo>
                  <a:pt x="155257" y="37858"/>
                </a:lnTo>
                <a:close/>
              </a:path>
              <a:path w="737870" h="296545">
                <a:moveTo>
                  <a:pt x="175412" y="256006"/>
                </a:moveTo>
                <a:lnTo>
                  <a:pt x="152831" y="256006"/>
                </a:lnTo>
                <a:lnTo>
                  <a:pt x="152831" y="295478"/>
                </a:lnTo>
                <a:lnTo>
                  <a:pt x="175412" y="295478"/>
                </a:lnTo>
                <a:lnTo>
                  <a:pt x="175412" y="287743"/>
                </a:lnTo>
                <a:lnTo>
                  <a:pt x="162509" y="287743"/>
                </a:lnTo>
                <a:lnTo>
                  <a:pt x="162509" y="279615"/>
                </a:lnTo>
                <a:lnTo>
                  <a:pt x="175412" y="279615"/>
                </a:lnTo>
                <a:lnTo>
                  <a:pt x="175412" y="271881"/>
                </a:lnTo>
                <a:lnTo>
                  <a:pt x="162509" y="271881"/>
                </a:lnTo>
                <a:lnTo>
                  <a:pt x="162509" y="263740"/>
                </a:lnTo>
                <a:lnTo>
                  <a:pt x="175412" y="263740"/>
                </a:lnTo>
                <a:lnTo>
                  <a:pt x="175412" y="256006"/>
                </a:lnTo>
                <a:close/>
              </a:path>
              <a:path w="737870" h="296545">
                <a:moveTo>
                  <a:pt x="228244" y="295478"/>
                </a:moveTo>
                <a:lnTo>
                  <a:pt x="219760" y="281241"/>
                </a:lnTo>
                <a:lnTo>
                  <a:pt x="221856" y="280428"/>
                </a:lnTo>
                <a:lnTo>
                  <a:pt x="225018" y="279196"/>
                </a:lnTo>
                <a:lnTo>
                  <a:pt x="227444" y="275132"/>
                </a:lnTo>
                <a:lnTo>
                  <a:pt x="227444" y="264960"/>
                </a:lnTo>
                <a:lnTo>
                  <a:pt x="227088" y="264147"/>
                </a:lnTo>
                <a:lnTo>
                  <a:pt x="225831" y="261289"/>
                </a:lnTo>
                <a:lnTo>
                  <a:pt x="222986" y="259257"/>
                </a:lnTo>
                <a:lnTo>
                  <a:pt x="220560" y="257225"/>
                </a:lnTo>
                <a:lnTo>
                  <a:pt x="217766" y="256286"/>
                </a:lnTo>
                <a:lnTo>
                  <a:pt x="217766" y="266179"/>
                </a:lnTo>
                <a:lnTo>
                  <a:pt x="217766" y="273100"/>
                </a:lnTo>
                <a:lnTo>
                  <a:pt x="215353" y="275132"/>
                </a:lnTo>
                <a:lnTo>
                  <a:pt x="208470" y="275132"/>
                </a:lnTo>
                <a:lnTo>
                  <a:pt x="208470" y="264147"/>
                </a:lnTo>
                <a:lnTo>
                  <a:pt x="215722" y="264147"/>
                </a:lnTo>
                <a:lnTo>
                  <a:pt x="217766" y="266179"/>
                </a:lnTo>
                <a:lnTo>
                  <a:pt x="217766" y="256286"/>
                </a:lnTo>
                <a:lnTo>
                  <a:pt x="216954" y="256006"/>
                </a:lnTo>
                <a:lnTo>
                  <a:pt x="199174" y="256006"/>
                </a:lnTo>
                <a:lnTo>
                  <a:pt x="199174" y="295478"/>
                </a:lnTo>
                <a:lnTo>
                  <a:pt x="208470" y="295478"/>
                </a:lnTo>
                <a:lnTo>
                  <a:pt x="208470" y="280428"/>
                </a:lnTo>
                <a:lnTo>
                  <a:pt x="216954" y="295478"/>
                </a:lnTo>
                <a:lnTo>
                  <a:pt x="228244" y="295478"/>
                </a:lnTo>
                <a:close/>
              </a:path>
              <a:path w="737870" h="296545">
                <a:moveTo>
                  <a:pt x="284251" y="24015"/>
                </a:moveTo>
                <a:lnTo>
                  <a:pt x="254368" y="24015"/>
                </a:lnTo>
                <a:lnTo>
                  <a:pt x="254368" y="140004"/>
                </a:lnTo>
                <a:lnTo>
                  <a:pt x="254368" y="140817"/>
                </a:lnTo>
                <a:lnTo>
                  <a:pt x="252577" y="153530"/>
                </a:lnTo>
                <a:lnTo>
                  <a:pt x="247180" y="164122"/>
                </a:lnTo>
                <a:lnTo>
                  <a:pt x="238455" y="171208"/>
                </a:lnTo>
                <a:lnTo>
                  <a:pt x="226631" y="173786"/>
                </a:lnTo>
                <a:lnTo>
                  <a:pt x="214617" y="171107"/>
                </a:lnTo>
                <a:lnTo>
                  <a:pt x="205905" y="163868"/>
                </a:lnTo>
                <a:lnTo>
                  <a:pt x="200583" y="153365"/>
                </a:lnTo>
                <a:lnTo>
                  <a:pt x="198793" y="140817"/>
                </a:lnTo>
                <a:lnTo>
                  <a:pt x="200520" y="128460"/>
                </a:lnTo>
                <a:lnTo>
                  <a:pt x="205638" y="117932"/>
                </a:lnTo>
                <a:lnTo>
                  <a:pt x="214096" y="110604"/>
                </a:lnTo>
                <a:lnTo>
                  <a:pt x="225831" y="107861"/>
                </a:lnTo>
                <a:lnTo>
                  <a:pt x="238467" y="110604"/>
                </a:lnTo>
                <a:lnTo>
                  <a:pt x="247294" y="117805"/>
                </a:lnTo>
                <a:lnTo>
                  <a:pt x="247408" y="117932"/>
                </a:lnTo>
                <a:lnTo>
                  <a:pt x="252679" y="128295"/>
                </a:lnTo>
                <a:lnTo>
                  <a:pt x="254368" y="140004"/>
                </a:lnTo>
                <a:lnTo>
                  <a:pt x="254368" y="24015"/>
                </a:lnTo>
                <a:lnTo>
                  <a:pt x="253238" y="24015"/>
                </a:lnTo>
                <a:lnTo>
                  <a:pt x="253238" y="99314"/>
                </a:lnTo>
                <a:lnTo>
                  <a:pt x="252806" y="99314"/>
                </a:lnTo>
                <a:lnTo>
                  <a:pt x="244894" y="90843"/>
                </a:lnTo>
                <a:lnTo>
                  <a:pt x="236639" y="85318"/>
                </a:lnTo>
                <a:lnTo>
                  <a:pt x="227711" y="82308"/>
                </a:lnTo>
                <a:lnTo>
                  <a:pt x="217766" y="81407"/>
                </a:lnTo>
                <a:lnTo>
                  <a:pt x="196253" y="86207"/>
                </a:lnTo>
                <a:lnTo>
                  <a:pt x="179984" y="99110"/>
                </a:lnTo>
                <a:lnTo>
                  <a:pt x="169697" y="117805"/>
                </a:lnTo>
                <a:lnTo>
                  <a:pt x="166116" y="140004"/>
                </a:lnTo>
                <a:lnTo>
                  <a:pt x="169875" y="162280"/>
                </a:lnTo>
                <a:lnTo>
                  <a:pt x="180479" y="181114"/>
                </a:lnTo>
                <a:lnTo>
                  <a:pt x="196900" y="194157"/>
                </a:lnTo>
                <a:lnTo>
                  <a:pt x="218147" y="199021"/>
                </a:lnTo>
                <a:lnTo>
                  <a:pt x="228473" y="197993"/>
                </a:lnTo>
                <a:lnTo>
                  <a:pt x="238074" y="194703"/>
                </a:lnTo>
                <a:lnTo>
                  <a:pt x="246684" y="188899"/>
                </a:lnTo>
                <a:lnTo>
                  <a:pt x="254050" y="180301"/>
                </a:lnTo>
                <a:lnTo>
                  <a:pt x="254419" y="180301"/>
                </a:lnTo>
                <a:lnTo>
                  <a:pt x="254419" y="196176"/>
                </a:lnTo>
                <a:lnTo>
                  <a:pt x="284251" y="196176"/>
                </a:lnTo>
                <a:lnTo>
                  <a:pt x="284251" y="180301"/>
                </a:lnTo>
                <a:lnTo>
                  <a:pt x="284251" y="173786"/>
                </a:lnTo>
                <a:lnTo>
                  <a:pt x="284251" y="107861"/>
                </a:lnTo>
                <a:lnTo>
                  <a:pt x="284251" y="99314"/>
                </a:lnTo>
                <a:lnTo>
                  <a:pt x="284251" y="24015"/>
                </a:lnTo>
                <a:close/>
              </a:path>
              <a:path w="737870" h="296545">
                <a:moveTo>
                  <a:pt x="284683" y="256006"/>
                </a:moveTo>
                <a:lnTo>
                  <a:pt x="275386" y="256006"/>
                </a:lnTo>
                <a:lnTo>
                  <a:pt x="275386" y="278384"/>
                </a:lnTo>
                <a:lnTo>
                  <a:pt x="261302" y="256006"/>
                </a:lnTo>
                <a:lnTo>
                  <a:pt x="251625" y="256006"/>
                </a:lnTo>
                <a:lnTo>
                  <a:pt x="251625" y="295478"/>
                </a:lnTo>
                <a:lnTo>
                  <a:pt x="261302" y="295478"/>
                </a:lnTo>
                <a:lnTo>
                  <a:pt x="261302" y="273100"/>
                </a:lnTo>
                <a:lnTo>
                  <a:pt x="275386" y="295478"/>
                </a:lnTo>
                <a:lnTo>
                  <a:pt x="284683" y="295478"/>
                </a:lnTo>
                <a:lnTo>
                  <a:pt x="284683" y="256006"/>
                </a:lnTo>
                <a:close/>
              </a:path>
              <a:path w="737870" h="296545">
                <a:moveTo>
                  <a:pt x="343547" y="295478"/>
                </a:moveTo>
                <a:lnTo>
                  <a:pt x="341680" y="289788"/>
                </a:lnTo>
                <a:lnTo>
                  <a:pt x="339153" y="282054"/>
                </a:lnTo>
                <a:lnTo>
                  <a:pt x="334365" y="267398"/>
                </a:lnTo>
                <a:lnTo>
                  <a:pt x="330644" y="256006"/>
                </a:lnTo>
                <a:lnTo>
                  <a:pt x="329031" y="256006"/>
                </a:lnTo>
                <a:lnTo>
                  <a:pt x="329031" y="282054"/>
                </a:lnTo>
                <a:lnTo>
                  <a:pt x="319735" y="282054"/>
                </a:lnTo>
                <a:lnTo>
                  <a:pt x="324573" y="267398"/>
                </a:lnTo>
                <a:lnTo>
                  <a:pt x="329031" y="282054"/>
                </a:lnTo>
                <a:lnTo>
                  <a:pt x="329031" y="256006"/>
                </a:lnTo>
                <a:lnTo>
                  <a:pt x="318554" y="256006"/>
                </a:lnTo>
                <a:lnTo>
                  <a:pt x="305650" y="295478"/>
                </a:lnTo>
                <a:lnTo>
                  <a:pt x="315696" y="295478"/>
                </a:lnTo>
                <a:lnTo>
                  <a:pt x="317309" y="289788"/>
                </a:lnTo>
                <a:lnTo>
                  <a:pt x="331444" y="289788"/>
                </a:lnTo>
                <a:lnTo>
                  <a:pt x="333057" y="295478"/>
                </a:lnTo>
                <a:lnTo>
                  <a:pt x="343547" y="295478"/>
                </a:lnTo>
                <a:close/>
              </a:path>
              <a:path w="737870" h="296545">
                <a:moveTo>
                  <a:pt x="386702" y="256006"/>
                </a:moveTo>
                <a:lnTo>
                  <a:pt x="359295" y="256006"/>
                </a:lnTo>
                <a:lnTo>
                  <a:pt x="359295" y="263740"/>
                </a:lnTo>
                <a:lnTo>
                  <a:pt x="368160" y="263740"/>
                </a:lnTo>
                <a:lnTo>
                  <a:pt x="368160" y="295478"/>
                </a:lnTo>
                <a:lnTo>
                  <a:pt x="377837" y="295478"/>
                </a:lnTo>
                <a:lnTo>
                  <a:pt x="377837" y="263740"/>
                </a:lnTo>
                <a:lnTo>
                  <a:pt x="386702" y="263740"/>
                </a:lnTo>
                <a:lnTo>
                  <a:pt x="386702" y="256006"/>
                </a:lnTo>
                <a:close/>
              </a:path>
              <a:path w="737870" h="296545">
                <a:moveTo>
                  <a:pt x="408470" y="140411"/>
                </a:moveTo>
                <a:lnTo>
                  <a:pt x="406527" y="129019"/>
                </a:lnTo>
                <a:lnTo>
                  <a:pt x="404291" y="115912"/>
                </a:lnTo>
                <a:lnTo>
                  <a:pt x="397433" y="105016"/>
                </a:lnTo>
                <a:lnTo>
                  <a:pt x="392595" y="97320"/>
                </a:lnTo>
                <a:lnTo>
                  <a:pt x="377405" y="87363"/>
                </a:lnTo>
                <a:lnTo>
                  <a:pt x="377405" y="129019"/>
                </a:lnTo>
                <a:lnTo>
                  <a:pt x="327418" y="129019"/>
                </a:lnTo>
                <a:lnTo>
                  <a:pt x="329857" y="119951"/>
                </a:lnTo>
                <a:lnTo>
                  <a:pt x="334873" y="112280"/>
                </a:lnTo>
                <a:lnTo>
                  <a:pt x="342607" y="106984"/>
                </a:lnTo>
                <a:lnTo>
                  <a:pt x="353212" y="105016"/>
                </a:lnTo>
                <a:lnTo>
                  <a:pt x="363131" y="107213"/>
                </a:lnTo>
                <a:lnTo>
                  <a:pt x="370471" y="112890"/>
                </a:lnTo>
                <a:lnTo>
                  <a:pt x="375234" y="120637"/>
                </a:lnTo>
                <a:lnTo>
                  <a:pt x="377405" y="129019"/>
                </a:lnTo>
                <a:lnTo>
                  <a:pt x="377405" y="87363"/>
                </a:lnTo>
                <a:lnTo>
                  <a:pt x="374624" y="85534"/>
                </a:lnTo>
                <a:lnTo>
                  <a:pt x="351612" y="81407"/>
                </a:lnTo>
                <a:lnTo>
                  <a:pt x="328587" y="85534"/>
                </a:lnTo>
                <a:lnTo>
                  <a:pt x="310616" y="97320"/>
                </a:lnTo>
                <a:lnTo>
                  <a:pt x="298919" y="115912"/>
                </a:lnTo>
                <a:lnTo>
                  <a:pt x="294741" y="140411"/>
                </a:lnTo>
                <a:lnTo>
                  <a:pt x="298919" y="164680"/>
                </a:lnTo>
                <a:lnTo>
                  <a:pt x="310616" y="183146"/>
                </a:lnTo>
                <a:lnTo>
                  <a:pt x="328587" y="194906"/>
                </a:lnTo>
                <a:lnTo>
                  <a:pt x="351612" y="199021"/>
                </a:lnTo>
                <a:lnTo>
                  <a:pt x="370039" y="196824"/>
                </a:lnTo>
                <a:lnTo>
                  <a:pt x="385584" y="190271"/>
                </a:lnTo>
                <a:lnTo>
                  <a:pt x="397649" y="179451"/>
                </a:lnTo>
                <a:lnTo>
                  <a:pt x="399796" y="175425"/>
                </a:lnTo>
                <a:lnTo>
                  <a:pt x="405625" y="164439"/>
                </a:lnTo>
                <a:lnTo>
                  <a:pt x="375412" y="161988"/>
                </a:lnTo>
                <a:lnTo>
                  <a:pt x="371373" y="167690"/>
                </a:lnTo>
                <a:lnTo>
                  <a:pt x="366128" y="171907"/>
                </a:lnTo>
                <a:lnTo>
                  <a:pt x="359981" y="174523"/>
                </a:lnTo>
                <a:lnTo>
                  <a:pt x="353212" y="175425"/>
                </a:lnTo>
                <a:lnTo>
                  <a:pt x="342214" y="173113"/>
                </a:lnTo>
                <a:lnTo>
                  <a:pt x="334416" y="167081"/>
                </a:lnTo>
                <a:lnTo>
                  <a:pt x="329565" y="158597"/>
                </a:lnTo>
                <a:lnTo>
                  <a:pt x="327418" y="148971"/>
                </a:lnTo>
                <a:lnTo>
                  <a:pt x="408470" y="148971"/>
                </a:lnTo>
                <a:lnTo>
                  <a:pt x="408470" y="140411"/>
                </a:lnTo>
                <a:close/>
              </a:path>
              <a:path w="737870" h="296545">
                <a:moveTo>
                  <a:pt x="421373" y="256413"/>
                </a:moveTo>
                <a:lnTo>
                  <a:pt x="411695" y="256413"/>
                </a:lnTo>
                <a:lnTo>
                  <a:pt x="411695" y="295478"/>
                </a:lnTo>
                <a:lnTo>
                  <a:pt x="421373" y="295478"/>
                </a:lnTo>
                <a:lnTo>
                  <a:pt x="421373" y="256413"/>
                </a:lnTo>
                <a:close/>
              </a:path>
              <a:path w="737870" h="296545">
                <a:moveTo>
                  <a:pt x="450773" y="24015"/>
                </a:moveTo>
                <a:lnTo>
                  <a:pt x="419328" y="24015"/>
                </a:lnTo>
                <a:lnTo>
                  <a:pt x="419328" y="196176"/>
                </a:lnTo>
                <a:lnTo>
                  <a:pt x="450773" y="196176"/>
                </a:lnTo>
                <a:lnTo>
                  <a:pt x="450773" y="24015"/>
                </a:lnTo>
                <a:close/>
              </a:path>
              <a:path w="737870" h="296545">
                <a:moveTo>
                  <a:pt x="484263" y="275945"/>
                </a:moveTo>
                <a:lnTo>
                  <a:pt x="482752" y="267792"/>
                </a:lnTo>
                <a:lnTo>
                  <a:pt x="480377" y="264147"/>
                </a:lnTo>
                <a:lnTo>
                  <a:pt x="478561" y="261340"/>
                </a:lnTo>
                <a:lnTo>
                  <a:pt x="474586" y="258711"/>
                </a:lnTo>
                <a:lnTo>
                  <a:pt x="474586" y="269430"/>
                </a:lnTo>
                <a:lnTo>
                  <a:pt x="474586" y="282460"/>
                </a:lnTo>
                <a:lnTo>
                  <a:pt x="469747" y="287337"/>
                </a:lnTo>
                <a:lnTo>
                  <a:pt x="457657" y="287337"/>
                </a:lnTo>
                <a:lnTo>
                  <a:pt x="452818" y="282460"/>
                </a:lnTo>
                <a:lnTo>
                  <a:pt x="452818" y="269024"/>
                </a:lnTo>
                <a:lnTo>
                  <a:pt x="457225" y="264147"/>
                </a:lnTo>
                <a:lnTo>
                  <a:pt x="470128" y="264147"/>
                </a:lnTo>
                <a:lnTo>
                  <a:pt x="474586" y="269430"/>
                </a:lnTo>
                <a:lnTo>
                  <a:pt x="474586" y="258711"/>
                </a:lnTo>
                <a:lnTo>
                  <a:pt x="472173" y="257111"/>
                </a:lnTo>
                <a:lnTo>
                  <a:pt x="464108" y="255600"/>
                </a:lnTo>
                <a:lnTo>
                  <a:pt x="458457" y="255600"/>
                </a:lnTo>
                <a:lnTo>
                  <a:pt x="453199" y="257225"/>
                </a:lnTo>
                <a:lnTo>
                  <a:pt x="449592" y="260883"/>
                </a:lnTo>
                <a:lnTo>
                  <a:pt x="445135" y="264960"/>
                </a:lnTo>
                <a:lnTo>
                  <a:pt x="443141" y="270243"/>
                </a:lnTo>
                <a:lnTo>
                  <a:pt x="443141" y="275945"/>
                </a:lnTo>
                <a:lnTo>
                  <a:pt x="444766" y="283933"/>
                </a:lnTo>
                <a:lnTo>
                  <a:pt x="449173" y="290398"/>
                </a:lnTo>
                <a:lnTo>
                  <a:pt x="455701" y="294716"/>
                </a:lnTo>
                <a:lnTo>
                  <a:pt x="463677" y="296291"/>
                </a:lnTo>
                <a:lnTo>
                  <a:pt x="471652" y="294716"/>
                </a:lnTo>
                <a:lnTo>
                  <a:pt x="478205" y="290398"/>
                </a:lnTo>
                <a:lnTo>
                  <a:pt x="480301" y="287337"/>
                </a:lnTo>
                <a:lnTo>
                  <a:pt x="482638" y="283933"/>
                </a:lnTo>
                <a:lnTo>
                  <a:pt x="484263" y="275945"/>
                </a:lnTo>
                <a:close/>
              </a:path>
              <a:path w="737870" h="296545">
                <a:moveTo>
                  <a:pt x="496785" y="84251"/>
                </a:moveTo>
                <a:lnTo>
                  <a:pt x="465721" y="84251"/>
                </a:lnTo>
                <a:lnTo>
                  <a:pt x="465721" y="196176"/>
                </a:lnTo>
                <a:lnTo>
                  <a:pt x="496785" y="196176"/>
                </a:lnTo>
                <a:lnTo>
                  <a:pt x="496785" y="84251"/>
                </a:lnTo>
                <a:close/>
              </a:path>
              <a:path w="737870" h="296545">
                <a:moveTo>
                  <a:pt x="499579" y="37858"/>
                </a:moveTo>
                <a:lnTo>
                  <a:pt x="498055" y="30937"/>
                </a:lnTo>
                <a:lnTo>
                  <a:pt x="493979" y="25234"/>
                </a:lnTo>
                <a:lnTo>
                  <a:pt x="488175" y="21374"/>
                </a:lnTo>
                <a:lnTo>
                  <a:pt x="481418" y="19951"/>
                </a:lnTo>
                <a:lnTo>
                  <a:pt x="474167" y="21551"/>
                </a:lnTo>
                <a:lnTo>
                  <a:pt x="468426" y="25742"/>
                </a:lnTo>
                <a:lnTo>
                  <a:pt x="464654" y="31623"/>
                </a:lnTo>
                <a:lnTo>
                  <a:pt x="463296" y="38265"/>
                </a:lnTo>
                <a:lnTo>
                  <a:pt x="464654" y="44907"/>
                </a:lnTo>
                <a:lnTo>
                  <a:pt x="468426" y="50774"/>
                </a:lnTo>
                <a:lnTo>
                  <a:pt x="474167" y="54978"/>
                </a:lnTo>
                <a:lnTo>
                  <a:pt x="481418" y="56578"/>
                </a:lnTo>
                <a:lnTo>
                  <a:pt x="488340" y="55029"/>
                </a:lnTo>
                <a:lnTo>
                  <a:pt x="494131" y="50876"/>
                </a:lnTo>
                <a:lnTo>
                  <a:pt x="498106" y="44907"/>
                </a:lnTo>
                <a:lnTo>
                  <a:pt x="499579" y="37858"/>
                </a:lnTo>
                <a:close/>
              </a:path>
              <a:path w="737870" h="296545">
                <a:moveTo>
                  <a:pt x="538276" y="256006"/>
                </a:moveTo>
                <a:lnTo>
                  <a:pt x="528612" y="256006"/>
                </a:lnTo>
                <a:lnTo>
                  <a:pt x="528612" y="278384"/>
                </a:lnTo>
                <a:lnTo>
                  <a:pt x="514527" y="256006"/>
                </a:lnTo>
                <a:lnTo>
                  <a:pt x="504850" y="256006"/>
                </a:lnTo>
                <a:lnTo>
                  <a:pt x="504850" y="295478"/>
                </a:lnTo>
                <a:lnTo>
                  <a:pt x="514527" y="295478"/>
                </a:lnTo>
                <a:lnTo>
                  <a:pt x="514527" y="273100"/>
                </a:lnTo>
                <a:lnTo>
                  <a:pt x="528612" y="295478"/>
                </a:lnTo>
                <a:lnTo>
                  <a:pt x="538276" y="295478"/>
                </a:lnTo>
                <a:lnTo>
                  <a:pt x="538276" y="256006"/>
                </a:lnTo>
                <a:close/>
              </a:path>
              <a:path w="737870" h="296545">
                <a:moveTo>
                  <a:pt x="570534" y="84251"/>
                </a:moveTo>
                <a:lnTo>
                  <a:pt x="554037" y="84251"/>
                </a:lnTo>
                <a:lnTo>
                  <a:pt x="554037" y="49250"/>
                </a:lnTo>
                <a:lnTo>
                  <a:pt x="522960" y="49250"/>
                </a:lnTo>
                <a:lnTo>
                  <a:pt x="522960" y="84251"/>
                </a:lnTo>
                <a:lnTo>
                  <a:pt x="508876" y="84251"/>
                </a:lnTo>
                <a:lnTo>
                  <a:pt x="508876" y="108267"/>
                </a:lnTo>
                <a:lnTo>
                  <a:pt x="522960" y="108267"/>
                </a:lnTo>
                <a:lnTo>
                  <a:pt x="522960" y="168097"/>
                </a:lnTo>
                <a:lnTo>
                  <a:pt x="525233" y="182968"/>
                </a:lnTo>
                <a:lnTo>
                  <a:pt x="531749" y="191897"/>
                </a:lnTo>
                <a:lnTo>
                  <a:pt x="542036" y="196253"/>
                </a:lnTo>
                <a:lnTo>
                  <a:pt x="555637" y="197396"/>
                </a:lnTo>
                <a:lnTo>
                  <a:pt x="560476" y="197396"/>
                </a:lnTo>
                <a:lnTo>
                  <a:pt x="565696" y="196583"/>
                </a:lnTo>
                <a:lnTo>
                  <a:pt x="570534" y="196176"/>
                </a:lnTo>
                <a:lnTo>
                  <a:pt x="570534" y="172161"/>
                </a:lnTo>
                <a:lnTo>
                  <a:pt x="570534" y="171348"/>
                </a:lnTo>
                <a:lnTo>
                  <a:pt x="568540" y="171754"/>
                </a:lnTo>
                <a:lnTo>
                  <a:pt x="566928" y="172161"/>
                </a:lnTo>
                <a:lnTo>
                  <a:pt x="556018" y="172161"/>
                </a:lnTo>
                <a:lnTo>
                  <a:pt x="554037" y="169722"/>
                </a:lnTo>
                <a:lnTo>
                  <a:pt x="554037" y="108267"/>
                </a:lnTo>
                <a:lnTo>
                  <a:pt x="570534" y="108267"/>
                </a:lnTo>
                <a:lnTo>
                  <a:pt x="570534" y="84251"/>
                </a:lnTo>
                <a:close/>
              </a:path>
              <a:path w="737870" h="296545">
                <a:moveTo>
                  <a:pt x="597141" y="295478"/>
                </a:moveTo>
                <a:lnTo>
                  <a:pt x="595274" y="289788"/>
                </a:lnTo>
                <a:lnTo>
                  <a:pt x="592747" y="282054"/>
                </a:lnTo>
                <a:lnTo>
                  <a:pt x="587959" y="267398"/>
                </a:lnTo>
                <a:lnTo>
                  <a:pt x="584238" y="256006"/>
                </a:lnTo>
                <a:lnTo>
                  <a:pt x="582625" y="256006"/>
                </a:lnTo>
                <a:lnTo>
                  <a:pt x="582625" y="282054"/>
                </a:lnTo>
                <a:lnTo>
                  <a:pt x="573379" y="282054"/>
                </a:lnTo>
                <a:lnTo>
                  <a:pt x="578218" y="267398"/>
                </a:lnTo>
                <a:lnTo>
                  <a:pt x="582625" y="282054"/>
                </a:lnTo>
                <a:lnTo>
                  <a:pt x="582625" y="256006"/>
                </a:lnTo>
                <a:lnTo>
                  <a:pt x="572147" y="256006"/>
                </a:lnTo>
                <a:lnTo>
                  <a:pt x="559244" y="295478"/>
                </a:lnTo>
                <a:lnTo>
                  <a:pt x="569353" y="295478"/>
                </a:lnTo>
                <a:lnTo>
                  <a:pt x="571334" y="289788"/>
                </a:lnTo>
                <a:lnTo>
                  <a:pt x="585050" y="289788"/>
                </a:lnTo>
                <a:lnTo>
                  <a:pt x="586663" y="295478"/>
                </a:lnTo>
                <a:lnTo>
                  <a:pt x="597141" y="295478"/>
                </a:lnTo>
                <a:close/>
              </a:path>
              <a:path w="737870" h="296545">
                <a:moveTo>
                  <a:pt x="640295" y="287743"/>
                </a:moveTo>
                <a:lnTo>
                  <a:pt x="627773" y="287743"/>
                </a:lnTo>
                <a:lnTo>
                  <a:pt x="627773" y="256006"/>
                </a:lnTo>
                <a:lnTo>
                  <a:pt x="618096" y="256006"/>
                </a:lnTo>
                <a:lnTo>
                  <a:pt x="618096" y="295478"/>
                </a:lnTo>
                <a:lnTo>
                  <a:pt x="640295" y="295478"/>
                </a:lnTo>
                <a:lnTo>
                  <a:pt x="640295" y="287743"/>
                </a:lnTo>
                <a:close/>
              </a:path>
              <a:path w="737870" h="296545">
                <a:moveTo>
                  <a:pt x="695121" y="84251"/>
                </a:moveTo>
                <a:lnTo>
                  <a:pt x="660882" y="84251"/>
                </a:lnTo>
                <a:lnTo>
                  <a:pt x="637501" y="158330"/>
                </a:lnTo>
                <a:lnTo>
                  <a:pt x="637070" y="158330"/>
                </a:lnTo>
                <a:lnTo>
                  <a:pt x="613689" y="84251"/>
                </a:lnTo>
                <a:lnTo>
                  <a:pt x="579399" y="84251"/>
                </a:lnTo>
                <a:lnTo>
                  <a:pt x="620953" y="196176"/>
                </a:lnTo>
                <a:lnTo>
                  <a:pt x="608850" y="227926"/>
                </a:lnTo>
                <a:lnTo>
                  <a:pt x="641540" y="227926"/>
                </a:lnTo>
                <a:lnTo>
                  <a:pt x="667499" y="158330"/>
                </a:lnTo>
                <a:lnTo>
                  <a:pt x="695121" y="84251"/>
                </a:lnTo>
                <a:close/>
              </a:path>
              <a:path w="737870" h="296545">
                <a:moveTo>
                  <a:pt x="712063" y="0"/>
                </a:moveTo>
                <a:lnTo>
                  <a:pt x="695934" y="0"/>
                </a:lnTo>
                <a:lnTo>
                  <a:pt x="695934" y="4076"/>
                </a:lnTo>
                <a:lnTo>
                  <a:pt x="701573" y="4076"/>
                </a:lnTo>
                <a:lnTo>
                  <a:pt x="701573" y="22390"/>
                </a:lnTo>
                <a:lnTo>
                  <a:pt x="706043" y="22390"/>
                </a:lnTo>
                <a:lnTo>
                  <a:pt x="706043" y="4076"/>
                </a:lnTo>
                <a:lnTo>
                  <a:pt x="712063" y="4076"/>
                </a:lnTo>
                <a:lnTo>
                  <a:pt x="712063" y="0"/>
                </a:lnTo>
                <a:close/>
              </a:path>
              <a:path w="737870" h="296545">
                <a:moveTo>
                  <a:pt x="737857" y="0"/>
                </a:moveTo>
                <a:lnTo>
                  <a:pt x="733018" y="0"/>
                </a:lnTo>
                <a:lnTo>
                  <a:pt x="726567" y="15468"/>
                </a:lnTo>
                <a:lnTo>
                  <a:pt x="723341" y="7734"/>
                </a:lnTo>
                <a:lnTo>
                  <a:pt x="720115" y="0"/>
                </a:lnTo>
                <a:lnTo>
                  <a:pt x="715289" y="0"/>
                </a:lnTo>
                <a:lnTo>
                  <a:pt x="715289" y="22390"/>
                </a:lnTo>
                <a:lnTo>
                  <a:pt x="719315" y="22390"/>
                </a:lnTo>
                <a:lnTo>
                  <a:pt x="719315" y="7734"/>
                </a:lnTo>
                <a:lnTo>
                  <a:pt x="719747" y="7734"/>
                </a:lnTo>
                <a:lnTo>
                  <a:pt x="725385" y="22390"/>
                </a:lnTo>
                <a:lnTo>
                  <a:pt x="727811" y="22390"/>
                </a:lnTo>
                <a:lnTo>
                  <a:pt x="730656" y="15468"/>
                </a:lnTo>
                <a:lnTo>
                  <a:pt x="733831" y="7734"/>
                </a:lnTo>
                <a:lnTo>
                  <a:pt x="733831" y="22390"/>
                </a:lnTo>
                <a:lnTo>
                  <a:pt x="737857" y="22390"/>
                </a:lnTo>
                <a:lnTo>
                  <a:pt x="737857" y="7734"/>
                </a:lnTo>
                <a:lnTo>
                  <a:pt x="737857" y="0"/>
                </a:lnTo>
                <a:close/>
              </a:path>
            </a:pathLst>
          </a:custGeom>
          <a:solidFill>
            <a:srgbClr val="006092"/>
          </a:solidFill>
        </p:spPr>
        <p:txBody>
          <a:bodyPr wrap="square" lIns="0" tIns="0" rIns="0" bIns="0" rtlCol="0"/>
          <a:lstStyle/>
          <a:p/>
        </p:txBody>
      </p:sp>
      <p:sp>
        <p:nvSpPr>
          <p:cNvPr id="3" name="Holder 2"/>
          <p:cNvSpPr>
            <a:spLocks noGrp="1"/>
          </p:cNvSpPr>
          <p:nvPr>
            <p:ph type="title"/>
          </p:nvPr>
        </p:nvSpPr>
        <p:spPr>
          <a:xfrm>
            <a:off x="457606" y="232994"/>
            <a:ext cx="8228787" cy="3917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rgbClr val="094D80"/>
                </a:solidFill>
                <a:latin typeface="Arial" panose="020B0604020202020204"/>
                <a:cs typeface="Arial" panose="020B0604020202020204"/>
              </a:defRPr>
            </a:lvl1pPr>
          </a:lstStyle>
          <a:p/>
        </p:txBody>
      </p:sp>
      <p:sp>
        <p:nvSpPr>
          <p:cNvPr id="4" name="Holder 3"/>
          <p:cNvSpPr>
            <a:spLocks noGrp="1"/>
          </p:cNvSpPr>
          <p:nvPr>
            <p:ph type="body" idx="1"/>
          </p:nvPr>
        </p:nvSpPr>
        <p:spPr>
          <a:xfrm>
            <a:off x="670560" y="2077085"/>
            <a:ext cx="7802879" cy="13061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0" i="0">
                <a:solidFill>
                  <a:srgbClr val="415363"/>
                </a:solidFill>
                <a:latin typeface="Arial" panose="020B0604020202020204"/>
                <a:cs typeface="Arial" panose="020B0604020202020204"/>
              </a:defRPr>
            </a:lvl1pPr>
          </a:lstStyle>
          <a:p/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431291" y="4792355"/>
            <a:ext cx="3325495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900" b="0" i="0">
                <a:solidFill>
                  <a:srgbClr val="094D80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 marL="38100">
              <a:lnSpc>
                <a:spcPct val="100000"/>
              </a:lnSpc>
              <a:spcBef>
                <a:spcPts val="150"/>
              </a:spcBef>
              <a:tabLst>
                <a:tab pos="287020" algn="l"/>
              </a:tabLst>
            </a:pPr>
            <a:fld id="{81D60167-4931-47E6-BA6A-407CBD079E47}" type="slidenum">
              <a:rPr lang="en-AU" b="1" spc="-5" smtClean="0"/>
            </a:fld>
            <a:r>
              <a:rPr lang="en-AU" b="1" spc="-5" dirty="0"/>
              <a:t>	</a:t>
            </a:r>
            <a:r>
              <a:rPr lang="en-AU" sz="1350" baseline="9000" dirty="0">
                <a:solidFill>
                  <a:srgbClr val="415363"/>
                </a:solidFill>
              </a:rPr>
              <a:t>|</a:t>
            </a:r>
            <a:r>
              <a:rPr lang="en-AU" sz="1350" spc="187" baseline="9000" dirty="0">
                <a:solidFill>
                  <a:srgbClr val="415363"/>
                </a:solidFill>
              </a:rPr>
              <a:t> </a:t>
            </a:r>
            <a:r>
              <a:rPr lang="en-AU" spc="-5" dirty="0"/>
              <a:t>Virtual Experience Program</a:t>
            </a:r>
            <a:endParaRPr sz="900" dirty="0">
              <a:latin typeface="Arial" panose="020B0604020202020204"/>
              <a:cs typeface="Arial" panose="020B0604020202020204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.vml"/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2.png"/><Relationship Id="rId3" Type="http://schemas.openxmlformats.org/officeDocument/2006/relationships/image" Target="../media/image1.emf"/><Relationship Id="rId2" Type="http://schemas.openxmlformats.org/officeDocument/2006/relationships/oleObject" Target="../embeddings/oleObject2.bin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.xml"/><Relationship Id="rId5" Type="http://schemas.openxmlformats.org/officeDocument/2006/relationships/vmlDrawing" Target="../drawings/vmlDrawing3.v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3.bin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Picture 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object 5"/>
          <p:cNvGrpSpPr/>
          <p:nvPr/>
        </p:nvGrpSpPr>
        <p:grpSpPr>
          <a:xfrm>
            <a:off x="7531693" y="4669126"/>
            <a:ext cx="348615" cy="352425"/>
            <a:chOff x="7531693" y="4669126"/>
            <a:chExt cx="348615" cy="352425"/>
          </a:xfrm>
        </p:grpSpPr>
        <p:sp>
          <p:nvSpPr>
            <p:cNvPr id="6" name="object 6"/>
            <p:cNvSpPr/>
            <p:nvPr/>
          </p:nvSpPr>
          <p:spPr>
            <a:xfrm>
              <a:off x="7531693" y="4669126"/>
              <a:ext cx="348615" cy="352425"/>
            </a:xfrm>
            <a:custGeom>
              <a:avLst/>
              <a:gdLst/>
              <a:ahLst/>
              <a:cxnLst/>
              <a:rect l="l" t="t" r="r" b="b"/>
              <a:pathLst>
                <a:path w="348615" h="352425">
                  <a:moveTo>
                    <a:pt x="348370" y="0"/>
                  </a:moveTo>
                  <a:lnTo>
                    <a:pt x="0" y="0"/>
                  </a:lnTo>
                  <a:lnTo>
                    <a:pt x="0" y="352046"/>
                  </a:lnTo>
                  <a:lnTo>
                    <a:pt x="348370" y="352046"/>
                  </a:lnTo>
                  <a:lnTo>
                    <a:pt x="348370" y="0"/>
                  </a:lnTo>
                  <a:close/>
                </a:path>
              </a:pathLst>
            </a:custGeom>
            <a:solidFill>
              <a:srgbClr val="B72E2A"/>
            </a:solidFill>
          </p:spPr>
          <p:txBody>
            <a:bodyPr wrap="square" lIns="0" tIns="0" rIns="0" bIns="0" rtlCol="0"/>
            <a:lstStyle/>
            <a:p/>
          </p:txBody>
        </p:sp>
        <p:pic>
          <p:nvPicPr>
            <p:cNvPr id="7" name="object 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643787" y="4749304"/>
              <a:ext cx="125798" cy="204306"/>
            </a:xfrm>
            <a:prstGeom prst="rect">
              <a:avLst/>
            </a:prstGeom>
          </p:spPr>
        </p:pic>
      </p:grpSp>
      <p:sp>
        <p:nvSpPr>
          <p:cNvPr id="8" name="object 8"/>
          <p:cNvSpPr/>
          <p:nvPr/>
        </p:nvSpPr>
        <p:spPr>
          <a:xfrm>
            <a:off x="7941742" y="4724882"/>
            <a:ext cx="737870" cy="296545"/>
          </a:xfrm>
          <a:custGeom>
            <a:avLst/>
            <a:gdLst/>
            <a:ahLst/>
            <a:cxnLst/>
            <a:rect l="l" t="t" r="r" b="b"/>
            <a:pathLst>
              <a:path w="737870" h="296545">
                <a:moveTo>
                  <a:pt x="25806" y="256413"/>
                </a:moveTo>
                <a:lnTo>
                  <a:pt x="16535" y="256413"/>
                </a:lnTo>
                <a:lnTo>
                  <a:pt x="16535" y="295478"/>
                </a:lnTo>
                <a:lnTo>
                  <a:pt x="25806" y="295478"/>
                </a:lnTo>
                <a:lnTo>
                  <a:pt x="25806" y="256413"/>
                </a:lnTo>
                <a:close/>
              </a:path>
              <a:path w="737870" h="296545">
                <a:moveTo>
                  <a:pt x="83870" y="256006"/>
                </a:moveTo>
                <a:lnTo>
                  <a:pt x="74599" y="256006"/>
                </a:lnTo>
                <a:lnTo>
                  <a:pt x="74599" y="278384"/>
                </a:lnTo>
                <a:lnTo>
                  <a:pt x="60083" y="256006"/>
                </a:lnTo>
                <a:lnTo>
                  <a:pt x="50812" y="256006"/>
                </a:lnTo>
                <a:lnTo>
                  <a:pt x="50812" y="295478"/>
                </a:lnTo>
                <a:lnTo>
                  <a:pt x="60083" y="295478"/>
                </a:lnTo>
                <a:lnTo>
                  <a:pt x="60083" y="273100"/>
                </a:lnTo>
                <a:lnTo>
                  <a:pt x="74599" y="295478"/>
                </a:lnTo>
                <a:lnTo>
                  <a:pt x="83870" y="295478"/>
                </a:lnTo>
                <a:lnTo>
                  <a:pt x="83870" y="256006"/>
                </a:lnTo>
                <a:close/>
              </a:path>
              <a:path w="737870" h="296545">
                <a:moveTo>
                  <a:pt x="105244" y="24422"/>
                </a:moveTo>
                <a:lnTo>
                  <a:pt x="16535" y="24422"/>
                </a:lnTo>
                <a:lnTo>
                  <a:pt x="16535" y="85471"/>
                </a:lnTo>
                <a:lnTo>
                  <a:pt x="0" y="85471"/>
                </a:lnTo>
                <a:lnTo>
                  <a:pt x="0" y="105016"/>
                </a:lnTo>
                <a:lnTo>
                  <a:pt x="16535" y="105016"/>
                </a:lnTo>
                <a:lnTo>
                  <a:pt x="16535" y="116408"/>
                </a:lnTo>
                <a:lnTo>
                  <a:pt x="0" y="116408"/>
                </a:lnTo>
                <a:lnTo>
                  <a:pt x="0" y="135534"/>
                </a:lnTo>
                <a:lnTo>
                  <a:pt x="16535" y="135534"/>
                </a:lnTo>
                <a:lnTo>
                  <a:pt x="16535" y="196583"/>
                </a:lnTo>
                <a:lnTo>
                  <a:pt x="50812" y="196583"/>
                </a:lnTo>
                <a:lnTo>
                  <a:pt x="50812" y="135534"/>
                </a:lnTo>
                <a:lnTo>
                  <a:pt x="83070" y="135534"/>
                </a:lnTo>
                <a:lnTo>
                  <a:pt x="91541" y="116408"/>
                </a:lnTo>
                <a:lnTo>
                  <a:pt x="50812" y="116408"/>
                </a:lnTo>
                <a:lnTo>
                  <a:pt x="50812" y="105016"/>
                </a:lnTo>
                <a:lnTo>
                  <a:pt x="96774" y="105016"/>
                </a:lnTo>
                <a:lnTo>
                  <a:pt x="105244" y="85471"/>
                </a:lnTo>
                <a:lnTo>
                  <a:pt x="50812" y="85471"/>
                </a:lnTo>
                <a:lnTo>
                  <a:pt x="50812" y="52501"/>
                </a:lnTo>
                <a:lnTo>
                  <a:pt x="105244" y="52501"/>
                </a:lnTo>
                <a:lnTo>
                  <a:pt x="105244" y="24422"/>
                </a:lnTo>
                <a:close/>
              </a:path>
              <a:path w="737870" h="296545">
                <a:moveTo>
                  <a:pt x="132676" y="256006"/>
                </a:moveTo>
                <a:lnTo>
                  <a:pt x="105244" y="256006"/>
                </a:lnTo>
                <a:lnTo>
                  <a:pt x="105244" y="263740"/>
                </a:lnTo>
                <a:lnTo>
                  <a:pt x="114134" y="263740"/>
                </a:lnTo>
                <a:lnTo>
                  <a:pt x="114134" y="295478"/>
                </a:lnTo>
                <a:lnTo>
                  <a:pt x="123812" y="295478"/>
                </a:lnTo>
                <a:lnTo>
                  <a:pt x="123812" y="263740"/>
                </a:lnTo>
                <a:lnTo>
                  <a:pt x="132676" y="263740"/>
                </a:lnTo>
                <a:lnTo>
                  <a:pt x="132676" y="256006"/>
                </a:lnTo>
                <a:close/>
              </a:path>
              <a:path w="737870" h="296545">
                <a:moveTo>
                  <a:pt x="154444" y="85064"/>
                </a:moveTo>
                <a:lnTo>
                  <a:pt x="120154" y="85064"/>
                </a:lnTo>
                <a:lnTo>
                  <a:pt x="120154" y="196176"/>
                </a:lnTo>
                <a:lnTo>
                  <a:pt x="154444" y="196176"/>
                </a:lnTo>
                <a:lnTo>
                  <a:pt x="154444" y="85064"/>
                </a:lnTo>
                <a:close/>
              </a:path>
              <a:path w="737870" h="296545">
                <a:moveTo>
                  <a:pt x="155257" y="37858"/>
                </a:moveTo>
                <a:lnTo>
                  <a:pt x="153720" y="30937"/>
                </a:lnTo>
                <a:lnTo>
                  <a:pt x="149656" y="25234"/>
                </a:lnTo>
                <a:lnTo>
                  <a:pt x="143852" y="21374"/>
                </a:lnTo>
                <a:lnTo>
                  <a:pt x="137083" y="19951"/>
                </a:lnTo>
                <a:lnTo>
                  <a:pt x="130009" y="21551"/>
                </a:lnTo>
                <a:lnTo>
                  <a:pt x="124256" y="25742"/>
                </a:lnTo>
                <a:lnTo>
                  <a:pt x="120383" y="31623"/>
                </a:lnTo>
                <a:lnTo>
                  <a:pt x="118973" y="38265"/>
                </a:lnTo>
                <a:lnTo>
                  <a:pt x="120383" y="44907"/>
                </a:lnTo>
                <a:lnTo>
                  <a:pt x="124256" y="50774"/>
                </a:lnTo>
                <a:lnTo>
                  <a:pt x="130009" y="54978"/>
                </a:lnTo>
                <a:lnTo>
                  <a:pt x="137083" y="56578"/>
                </a:lnTo>
                <a:lnTo>
                  <a:pt x="144183" y="55029"/>
                </a:lnTo>
                <a:lnTo>
                  <a:pt x="149961" y="50876"/>
                </a:lnTo>
                <a:lnTo>
                  <a:pt x="153835" y="44907"/>
                </a:lnTo>
                <a:lnTo>
                  <a:pt x="155257" y="37858"/>
                </a:lnTo>
                <a:close/>
              </a:path>
              <a:path w="737870" h="296545">
                <a:moveTo>
                  <a:pt x="175412" y="256006"/>
                </a:moveTo>
                <a:lnTo>
                  <a:pt x="152831" y="256006"/>
                </a:lnTo>
                <a:lnTo>
                  <a:pt x="152831" y="295478"/>
                </a:lnTo>
                <a:lnTo>
                  <a:pt x="175412" y="295478"/>
                </a:lnTo>
                <a:lnTo>
                  <a:pt x="175412" y="287743"/>
                </a:lnTo>
                <a:lnTo>
                  <a:pt x="162509" y="287743"/>
                </a:lnTo>
                <a:lnTo>
                  <a:pt x="162509" y="279615"/>
                </a:lnTo>
                <a:lnTo>
                  <a:pt x="175412" y="279615"/>
                </a:lnTo>
                <a:lnTo>
                  <a:pt x="175412" y="271881"/>
                </a:lnTo>
                <a:lnTo>
                  <a:pt x="162509" y="271881"/>
                </a:lnTo>
                <a:lnTo>
                  <a:pt x="162509" y="263740"/>
                </a:lnTo>
                <a:lnTo>
                  <a:pt x="175412" y="263740"/>
                </a:lnTo>
                <a:lnTo>
                  <a:pt x="175412" y="256006"/>
                </a:lnTo>
                <a:close/>
              </a:path>
              <a:path w="737870" h="296545">
                <a:moveTo>
                  <a:pt x="228244" y="295478"/>
                </a:moveTo>
                <a:lnTo>
                  <a:pt x="219760" y="281241"/>
                </a:lnTo>
                <a:lnTo>
                  <a:pt x="221856" y="280428"/>
                </a:lnTo>
                <a:lnTo>
                  <a:pt x="225018" y="279196"/>
                </a:lnTo>
                <a:lnTo>
                  <a:pt x="227444" y="275132"/>
                </a:lnTo>
                <a:lnTo>
                  <a:pt x="227444" y="264960"/>
                </a:lnTo>
                <a:lnTo>
                  <a:pt x="227088" y="264147"/>
                </a:lnTo>
                <a:lnTo>
                  <a:pt x="225831" y="261289"/>
                </a:lnTo>
                <a:lnTo>
                  <a:pt x="222986" y="259257"/>
                </a:lnTo>
                <a:lnTo>
                  <a:pt x="220560" y="257225"/>
                </a:lnTo>
                <a:lnTo>
                  <a:pt x="217766" y="256286"/>
                </a:lnTo>
                <a:lnTo>
                  <a:pt x="217766" y="266179"/>
                </a:lnTo>
                <a:lnTo>
                  <a:pt x="217766" y="273100"/>
                </a:lnTo>
                <a:lnTo>
                  <a:pt x="215353" y="275132"/>
                </a:lnTo>
                <a:lnTo>
                  <a:pt x="208470" y="275132"/>
                </a:lnTo>
                <a:lnTo>
                  <a:pt x="208470" y="264147"/>
                </a:lnTo>
                <a:lnTo>
                  <a:pt x="215722" y="264147"/>
                </a:lnTo>
                <a:lnTo>
                  <a:pt x="217766" y="266179"/>
                </a:lnTo>
                <a:lnTo>
                  <a:pt x="217766" y="256286"/>
                </a:lnTo>
                <a:lnTo>
                  <a:pt x="216954" y="256006"/>
                </a:lnTo>
                <a:lnTo>
                  <a:pt x="199174" y="256006"/>
                </a:lnTo>
                <a:lnTo>
                  <a:pt x="199174" y="295478"/>
                </a:lnTo>
                <a:lnTo>
                  <a:pt x="208470" y="295478"/>
                </a:lnTo>
                <a:lnTo>
                  <a:pt x="208470" y="280428"/>
                </a:lnTo>
                <a:lnTo>
                  <a:pt x="216954" y="295478"/>
                </a:lnTo>
                <a:lnTo>
                  <a:pt x="228244" y="295478"/>
                </a:lnTo>
                <a:close/>
              </a:path>
              <a:path w="737870" h="296545">
                <a:moveTo>
                  <a:pt x="284251" y="24015"/>
                </a:moveTo>
                <a:lnTo>
                  <a:pt x="254368" y="24015"/>
                </a:lnTo>
                <a:lnTo>
                  <a:pt x="254368" y="140004"/>
                </a:lnTo>
                <a:lnTo>
                  <a:pt x="254368" y="140817"/>
                </a:lnTo>
                <a:lnTo>
                  <a:pt x="252577" y="153530"/>
                </a:lnTo>
                <a:lnTo>
                  <a:pt x="247180" y="164122"/>
                </a:lnTo>
                <a:lnTo>
                  <a:pt x="238455" y="171208"/>
                </a:lnTo>
                <a:lnTo>
                  <a:pt x="226631" y="173786"/>
                </a:lnTo>
                <a:lnTo>
                  <a:pt x="214617" y="171107"/>
                </a:lnTo>
                <a:lnTo>
                  <a:pt x="205905" y="163868"/>
                </a:lnTo>
                <a:lnTo>
                  <a:pt x="200583" y="153365"/>
                </a:lnTo>
                <a:lnTo>
                  <a:pt x="198793" y="140817"/>
                </a:lnTo>
                <a:lnTo>
                  <a:pt x="200520" y="128460"/>
                </a:lnTo>
                <a:lnTo>
                  <a:pt x="205638" y="117932"/>
                </a:lnTo>
                <a:lnTo>
                  <a:pt x="214096" y="110604"/>
                </a:lnTo>
                <a:lnTo>
                  <a:pt x="225831" y="107861"/>
                </a:lnTo>
                <a:lnTo>
                  <a:pt x="238467" y="110604"/>
                </a:lnTo>
                <a:lnTo>
                  <a:pt x="247294" y="117805"/>
                </a:lnTo>
                <a:lnTo>
                  <a:pt x="247408" y="117932"/>
                </a:lnTo>
                <a:lnTo>
                  <a:pt x="252679" y="128295"/>
                </a:lnTo>
                <a:lnTo>
                  <a:pt x="254368" y="140004"/>
                </a:lnTo>
                <a:lnTo>
                  <a:pt x="254368" y="24015"/>
                </a:lnTo>
                <a:lnTo>
                  <a:pt x="253238" y="24015"/>
                </a:lnTo>
                <a:lnTo>
                  <a:pt x="253238" y="99314"/>
                </a:lnTo>
                <a:lnTo>
                  <a:pt x="252806" y="99314"/>
                </a:lnTo>
                <a:lnTo>
                  <a:pt x="244894" y="90843"/>
                </a:lnTo>
                <a:lnTo>
                  <a:pt x="236639" y="85318"/>
                </a:lnTo>
                <a:lnTo>
                  <a:pt x="227711" y="82308"/>
                </a:lnTo>
                <a:lnTo>
                  <a:pt x="217766" y="81407"/>
                </a:lnTo>
                <a:lnTo>
                  <a:pt x="196253" y="86207"/>
                </a:lnTo>
                <a:lnTo>
                  <a:pt x="179984" y="99110"/>
                </a:lnTo>
                <a:lnTo>
                  <a:pt x="169697" y="117805"/>
                </a:lnTo>
                <a:lnTo>
                  <a:pt x="166116" y="140004"/>
                </a:lnTo>
                <a:lnTo>
                  <a:pt x="169875" y="162280"/>
                </a:lnTo>
                <a:lnTo>
                  <a:pt x="180479" y="181114"/>
                </a:lnTo>
                <a:lnTo>
                  <a:pt x="196900" y="194157"/>
                </a:lnTo>
                <a:lnTo>
                  <a:pt x="218147" y="199021"/>
                </a:lnTo>
                <a:lnTo>
                  <a:pt x="228473" y="197993"/>
                </a:lnTo>
                <a:lnTo>
                  <a:pt x="238074" y="194703"/>
                </a:lnTo>
                <a:lnTo>
                  <a:pt x="246684" y="188899"/>
                </a:lnTo>
                <a:lnTo>
                  <a:pt x="254050" y="180301"/>
                </a:lnTo>
                <a:lnTo>
                  <a:pt x="254419" y="180301"/>
                </a:lnTo>
                <a:lnTo>
                  <a:pt x="254419" y="196176"/>
                </a:lnTo>
                <a:lnTo>
                  <a:pt x="284251" y="196176"/>
                </a:lnTo>
                <a:lnTo>
                  <a:pt x="284251" y="180301"/>
                </a:lnTo>
                <a:lnTo>
                  <a:pt x="284251" y="173786"/>
                </a:lnTo>
                <a:lnTo>
                  <a:pt x="284251" y="107861"/>
                </a:lnTo>
                <a:lnTo>
                  <a:pt x="284251" y="99314"/>
                </a:lnTo>
                <a:lnTo>
                  <a:pt x="284251" y="24015"/>
                </a:lnTo>
                <a:close/>
              </a:path>
              <a:path w="737870" h="296545">
                <a:moveTo>
                  <a:pt x="284683" y="256006"/>
                </a:moveTo>
                <a:lnTo>
                  <a:pt x="275386" y="256006"/>
                </a:lnTo>
                <a:lnTo>
                  <a:pt x="275386" y="278384"/>
                </a:lnTo>
                <a:lnTo>
                  <a:pt x="261302" y="256006"/>
                </a:lnTo>
                <a:lnTo>
                  <a:pt x="251625" y="256006"/>
                </a:lnTo>
                <a:lnTo>
                  <a:pt x="251625" y="295478"/>
                </a:lnTo>
                <a:lnTo>
                  <a:pt x="261302" y="295478"/>
                </a:lnTo>
                <a:lnTo>
                  <a:pt x="261302" y="273100"/>
                </a:lnTo>
                <a:lnTo>
                  <a:pt x="275386" y="295478"/>
                </a:lnTo>
                <a:lnTo>
                  <a:pt x="284683" y="295478"/>
                </a:lnTo>
                <a:lnTo>
                  <a:pt x="284683" y="256006"/>
                </a:lnTo>
                <a:close/>
              </a:path>
              <a:path w="737870" h="296545">
                <a:moveTo>
                  <a:pt x="343547" y="295478"/>
                </a:moveTo>
                <a:lnTo>
                  <a:pt x="341680" y="289788"/>
                </a:lnTo>
                <a:lnTo>
                  <a:pt x="339153" y="282054"/>
                </a:lnTo>
                <a:lnTo>
                  <a:pt x="334365" y="267398"/>
                </a:lnTo>
                <a:lnTo>
                  <a:pt x="330644" y="256006"/>
                </a:lnTo>
                <a:lnTo>
                  <a:pt x="329031" y="256006"/>
                </a:lnTo>
                <a:lnTo>
                  <a:pt x="329031" y="282054"/>
                </a:lnTo>
                <a:lnTo>
                  <a:pt x="319735" y="282054"/>
                </a:lnTo>
                <a:lnTo>
                  <a:pt x="324573" y="267398"/>
                </a:lnTo>
                <a:lnTo>
                  <a:pt x="329031" y="282054"/>
                </a:lnTo>
                <a:lnTo>
                  <a:pt x="329031" y="256006"/>
                </a:lnTo>
                <a:lnTo>
                  <a:pt x="318554" y="256006"/>
                </a:lnTo>
                <a:lnTo>
                  <a:pt x="305650" y="295478"/>
                </a:lnTo>
                <a:lnTo>
                  <a:pt x="315696" y="295478"/>
                </a:lnTo>
                <a:lnTo>
                  <a:pt x="317309" y="289788"/>
                </a:lnTo>
                <a:lnTo>
                  <a:pt x="331444" y="289788"/>
                </a:lnTo>
                <a:lnTo>
                  <a:pt x="333057" y="295478"/>
                </a:lnTo>
                <a:lnTo>
                  <a:pt x="343547" y="295478"/>
                </a:lnTo>
                <a:close/>
              </a:path>
              <a:path w="737870" h="296545">
                <a:moveTo>
                  <a:pt x="386702" y="256006"/>
                </a:moveTo>
                <a:lnTo>
                  <a:pt x="359295" y="256006"/>
                </a:lnTo>
                <a:lnTo>
                  <a:pt x="359295" y="263740"/>
                </a:lnTo>
                <a:lnTo>
                  <a:pt x="368160" y="263740"/>
                </a:lnTo>
                <a:lnTo>
                  <a:pt x="368160" y="295478"/>
                </a:lnTo>
                <a:lnTo>
                  <a:pt x="377837" y="295478"/>
                </a:lnTo>
                <a:lnTo>
                  <a:pt x="377837" y="263740"/>
                </a:lnTo>
                <a:lnTo>
                  <a:pt x="386702" y="263740"/>
                </a:lnTo>
                <a:lnTo>
                  <a:pt x="386702" y="256006"/>
                </a:lnTo>
                <a:close/>
              </a:path>
              <a:path w="737870" h="296545">
                <a:moveTo>
                  <a:pt x="408470" y="140411"/>
                </a:moveTo>
                <a:lnTo>
                  <a:pt x="406527" y="129019"/>
                </a:lnTo>
                <a:lnTo>
                  <a:pt x="404291" y="115912"/>
                </a:lnTo>
                <a:lnTo>
                  <a:pt x="397433" y="105016"/>
                </a:lnTo>
                <a:lnTo>
                  <a:pt x="392595" y="97320"/>
                </a:lnTo>
                <a:lnTo>
                  <a:pt x="377405" y="87363"/>
                </a:lnTo>
                <a:lnTo>
                  <a:pt x="377405" y="129019"/>
                </a:lnTo>
                <a:lnTo>
                  <a:pt x="327418" y="129019"/>
                </a:lnTo>
                <a:lnTo>
                  <a:pt x="329857" y="119951"/>
                </a:lnTo>
                <a:lnTo>
                  <a:pt x="334873" y="112280"/>
                </a:lnTo>
                <a:lnTo>
                  <a:pt x="342607" y="106984"/>
                </a:lnTo>
                <a:lnTo>
                  <a:pt x="353212" y="105016"/>
                </a:lnTo>
                <a:lnTo>
                  <a:pt x="363131" y="107213"/>
                </a:lnTo>
                <a:lnTo>
                  <a:pt x="370471" y="112890"/>
                </a:lnTo>
                <a:lnTo>
                  <a:pt x="375234" y="120637"/>
                </a:lnTo>
                <a:lnTo>
                  <a:pt x="377405" y="129019"/>
                </a:lnTo>
                <a:lnTo>
                  <a:pt x="377405" y="87363"/>
                </a:lnTo>
                <a:lnTo>
                  <a:pt x="374624" y="85534"/>
                </a:lnTo>
                <a:lnTo>
                  <a:pt x="351612" y="81407"/>
                </a:lnTo>
                <a:lnTo>
                  <a:pt x="328587" y="85534"/>
                </a:lnTo>
                <a:lnTo>
                  <a:pt x="310616" y="97320"/>
                </a:lnTo>
                <a:lnTo>
                  <a:pt x="298919" y="115912"/>
                </a:lnTo>
                <a:lnTo>
                  <a:pt x="294741" y="140411"/>
                </a:lnTo>
                <a:lnTo>
                  <a:pt x="298919" y="164680"/>
                </a:lnTo>
                <a:lnTo>
                  <a:pt x="310616" y="183146"/>
                </a:lnTo>
                <a:lnTo>
                  <a:pt x="328587" y="194906"/>
                </a:lnTo>
                <a:lnTo>
                  <a:pt x="351612" y="199021"/>
                </a:lnTo>
                <a:lnTo>
                  <a:pt x="370039" y="196824"/>
                </a:lnTo>
                <a:lnTo>
                  <a:pt x="385584" y="190271"/>
                </a:lnTo>
                <a:lnTo>
                  <a:pt x="397649" y="179451"/>
                </a:lnTo>
                <a:lnTo>
                  <a:pt x="399796" y="175425"/>
                </a:lnTo>
                <a:lnTo>
                  <a:pt x="405625" y="164439"/>
                </a:lnTo>
                <a:lnTo>
                  <a:pt x="375412" y="161988"/>
                </a:lnTo>
                <a:lnTo>
                  <a:pt x="371373" y="167690"/>
                </a:lnTo>
                <a:lnTo>
                  <a:pt x="366128" y="171907"/>
                </a:lnTo>
                <a:lnTo>
                  <a:pt x="359981" y="174523"/>
                </a:lnTo>
                <a:lnTo>
                  <a:pt x="353212" y="175425"/>
                </a:lnTo>
                <a:lnTo>
                  <a:pt x="342214" y="173113"/>
                </a:lnTo>
                <a:lnTo>
                  <a:pt x="334416" y="167081"/>
                </a:lnTo>
                <a:lnTo>
                  <a:pt x="329565" y="158597"/>
                </a:lnTo>
                <a:lnTo>
                  <a:pt x="327418" y="148971"/>
                </a:lnTo>
                <a:lnTo>
                  <a:pt x="408470" y="148971"/>
                </a:lnTo>
                <a:lnTo>
                  <a:pt x="408470" y="140411"/>
                </a:lnTo>
                <a:close/>
              </a:path>
              <a:path w="737870" h="296545">
                <a:moveTo>
                  <a:pt x="421373" y="256413"/>
                </a:moveTo>
                <a:lnTo>
                  <a:pt x="411695" y="256413"/>
                </a:lnTo>
                <a:lnTo>
                  <a:pt x="411695" y="295478"/>
                </a:lnTo>
                <a:lnTo>
                  <a:pt x="421373" y="295478"/>
                </a:lnTo>
                <a:lnTo>
                  <a:pt x="421373" y="256413"/>
                </a:lnTo>
                <a:close/>
              </a:path>
              <a:path w="737870" h="296545">
                <a:moveTo>
                  <a:pt x="450773" y="24015"/>
                </a:moveTo>
                <a:lnTo>
                  <a:pt x="419328" y="24015"/>
                </a:lnTo>
                <a:lnTo>
                  <a:pt x="419328" y="196176"/>
                </a:lnTo>
                <a:lnTo>
                  <a:pt x="450773" y="196176"/>
                </a:lnTo>
                <a:lnTo>
                  <a:pt x="450773" y="24015"/>
                </a:lnTo>
                <a:close/>
              </a:path>
              <a:path w="737870" h="296545">
                <a:moveTo>
                  <a:pt x="484263" y="275945"/>
                </a:moveTo>
                <a:lnTo>
                  <a:pt x="482752" y="267792"/>
                </a:lnTo>
                <a:lnTo>
                  <a:pt x="480377" y="264147"/>
                </a:lnTo>
                <a:lnTo>
                  <a:pt x="478561" y="261340"/>
                </a:lnTo>
                <a:lnTo>
                  <a:pt x="474586" y="258711"/>
                </a:lnTo>
                <a:lnTo>
                  <a:pt x="474586" y="269430"/>
                </a:lnTo>
                <a:lnTo>
                  <a:pt x="474586" y="282460"/>
                </a:lnTo>
                <a:lnTo>
                  <a:pt x="469747" y="287337"/>
                </a:lnTo>
                <a:lnTo>
                  <a:pt x="457657" y="287337"/>
                </a:lnTo>
                <a:lnTo>
                  <a:pt x="452818" y="282460"/>
                </a:lnTo>
                <a:lnTo>
                  <a:pt x="452818" y="269024"/>
                </a:lnTo>
                <a:lnTo>
                  <a:pt x="457225" y="264147"/>
                </a:lnTo>
                <a:lnTo>
                  <a:pt x="470128" y="264147"/>
                </a:lnTo>
                <a:lnTo>
                  <a:pt x="474586" y="269430"/>
                </a:lnTo>
                <a:lnTo>
                  <a:pt x="474586" y="258711"/>
                </a:lnTo>
                <a:lnTo>
                  <a:pt x="472173" y="257111"/>
                </a:lnTo>
                <a:lnTo>
                  <a:pt x="464108" y="255600"/>
                </a:lnTo>
                <a:lnTo>
                  <a:pt x="458457" y="255600"/>
                </a:lnTo>
                <a:lnTo>
                  <a:pt x="453199" y="257225"/>
                </a:lnTo>
                <a:lnTo>
                  <a:pt x="449592" y="260883"/>
                </a:lnTo>
                <a:lnTo>
                  <a:pt x="445135" y="264960"/>
                </a:lnTo>
                <a:lnTo>
                  <a:pt x="443141" y="270243"/>
                </a:lnTo>
                <a:lnTo>
                  <a:pt x="443141" y="275945"/>
                </a:lnTo>
                <a:lnTo>
                  <a:pt x="444766" y="283933"/>
                </a:lnTo>
                <a:lnTo>
                  <a:pt x="449173" y="290398"/>
                </a:lnTo>
                <a:lnTo>
                  <a:pt x="455701" y="294716"/>
                </a:lnTo>
                <a:lnTo>
                  <a:pt x="463677" y="296291"/>
                </a:lnTo>
                <a:lnTo>
                  <a:pt x="471652" y="294716"/>
                </a:lnTo>
                <a:lnTo>
                  <a:pt x="478205" y="290398"/>
                </a:lnTo>
                <a:lnTo>
                  <a:pt x="480301" y="287337"/>
                </a:lnTo>
                <a:lnTo>
                  <a:pt x="482638" y="283933"/>
                </a:lnTo>
                <a:lnTo>
                  <a:pt x="484263" y="275945"/>
                </a:lnTo>
                <a:close/>
              </a:path>
              <a:path w="737870" h="296545">
                <a:moveTo>
                  <a:pt x="496785" y="84251"/>
                </a:moveTo>
                <a:lnTo>
                  <a:pt x="465721" y="84251"/>
                </a:lnTo>
                <a:lnTo>
                  <a:pt x="465721" y="196176"/>
                </a:lnTo>
                <a:lnTo>
                  <a:pt x="496785" y="196176"/>
                </a:lnTo>
                <a:lnTo>
                  <a:pt x="496785" y="84251"/>
                </a:lnTo>
                <a:close/>
              </a:path>
              <a:path w="737870" h="296545">
                <a:moveTo>
                  <a:pt x="499579" y="37858"/>
                </a:moveTo>
                <a:lnTo>
                  <a:pt x="498055" y="30937"/>
                </a:lnTo>
                <a:lnTo>
                  <a:pt x="493979" y="25234"/>
                </a:lnTo>
                <a:lnTo>
                  <a:pt x="488175" y="21374"/>
                </a:lnTo>
                <a:lnTo>
                  <a:pt x="481418" y="19951"/>
                </a:lnTo>
                <a:lnTo>
                  <a:pt x="474167" y="21551"/>
                </a:lnTo>
                <a:lnTo>
                  <a:pt x="468426" y="25742"/>
                </a:lnTo>
                <a:lnTo>
                  <a:pt x="464654" y="31623"/>
                </a:lnTo>
                <a:lnTo>
                  <a:pt x="463296" y="38265"/>
                </a:lnTo>
                <a:lnTo>
                  <a:pt x="464654" y="44907"/>
                </a:lnTo>
                <a:lnTo>
                  <a:pt x="468426" y="50774"/>
                </a:lnTo>
                <a:lnTo>
                  <a:pt x="474167" y="54978"/>
                </a:lnTo>
                <a:lnTo>
                  <a:pt x="481418" y="56578"/>
                </a:lnTo>
                <a:lnTo>
                  <a:pt x="488340" y="55029"/>
                </a:lnTo>
                <a:lnTo>
                  <a:pt x="494131" y="50876"/>
                </a:lnTo>
                <a:lnTo>
                  <a:pt x="498106" y="44907"/>
                </a:lnTo>
                <a:lnTo>
                  <a:pt x="499579" y="37858"/>
                </a:lnTo>
                <a:close/>
              </a:path>
              <a:path w="737870" h="296545">
                <a:moveTo>
                  <a:pt x="538276" y="256006"/>
                </a:moveTo>
                <a:lnTo>
                  <a:pt x="528612" y="256006"/>
                </a:lnTo>
                <a:lnTo>
                  <a:pt x="528612" y="278384"/>
                </a:lnTo>
                <a:lnTo>
                  <a:pt x="514527" y="256006"/>
                </a:lnTo>
                <a:lnTo>
                  <a:pt x="504850" y="256006"/>
                </a:lnTo>
                <a:lnTo>
                  <a:pt x="504850" y="295478"/>
                </a:lnTo>
                <a:lnTo>
                  <a:pt x="514527" y="295478"/>
                </a:lnTo>
                <a:lnTo>
                  <a:pt x="514527" y="273100"/>
                </a:lnTo>
                <a:lnTo>
                  <a:pt x="528612" y="295478"/>
                </a:lnTo>
                <a:lnTo>
                  <a:pt x="538276" y="295478"/>
                </a:lnTo>
                <a:lnTo>
                  <a:pt x="538276" y="256006"/>
                </a:lnTo>
                <a:close/>
              </a:path>
              <a:path w="737870" h="296545">
                <a:moveTo>
                  <a:pt x="570534" y="84251"/>
                </a:moveTo>
                <a:lnTo>
                  <a:pt x="554037" y="84251"/>
                </a:lnTo>
                <a:lnTo>
                  <a:pt x="554037" y="49250"/>
                </a:lnTo>
                <a:lnTo>
                  <a:pt x="522960" y="49250"/>
                </a:lnTo>
                <a:lnTo>
                  <a:pt x="522960" y="84251"/>
                </a:lnTo>
                <a:lnTo>
                  <a:pt x="508876" y="84251"/>
                </a:lnTo>
                <a:lnTo>
                  <a:pt x="508876" y="108267"/>
                </a:lnTo>
                <a:lnTo>
                  <a:pt x="522960" y="108267"/>
                </a:lnTo>
                <a:lnTo>
                  <a:pt x="522960" y="168097"/>
                </a:lnTo>
                <a:lnTo>
                  <a:pt x="525233" y="182968"/>
                </a:lnTo>
                <a:lnTo>
                  <a:pt x="531749" y="191897"/>
                </a:lnTo>
                <a:lnTo>
                  <a:pt x="542036" y="196253"/>
                </a:lnTo>
                <a:lnTo>
                  <a:pt x="555637" y="197396"/>
                </a:lnTo>
                <a:lnTo>
                  <a:pt x="560476" y="197396"/>
                </a:lnTo>
                <a:lnTo>
                  <a:pt x="565696" y="196583"/>
                </a:lnTo>
                <a:lnTo>
                  <a:pt x="570534" y="196176"/>
                </a:lnTo>
                <a:lnTo>
                  <a:pt x="570534" y="172161"/>
                </a:lnTo>
                <a:lnTo>
                  <a:pt x="570534" y="171348"/>
                </a:lnTo>
                <a:lnTo>
                  <a:pt x="568540" y="171754"/>
                </a:lnTo>
                <a:lnTo>
                  <a:pt x="566928" y="172161"/>
                </a:lnTo>
                <a:lnTo>
                  <a:pt x="556018" y="172161"/>
                </a:lnTo>
                <a:lnTo>
                  <a:pt x="554037" y="169722"/>
                </a:lnTo>
                <a:lnTo>
                  <a:pt x="554037" y="108267"/>
                </a:lnTo>
                <a:lnTo>
                  <a:pt x="570534" y="108267"/>
                </a:lnTo>
                <a:lnTo>
                  <a:pt x="570534" y="84251"/>
                </a:lnTo>
                <a:close/>
              </a:path>
              <a:path w="737870" h="296545">
                <a:moveTo>
                  <a:pt x="597141" y="295478"/>
                </a:moveTo>
                <a:lnTo>
                  <a:pt x="595274" y="289788"/>
                </a:lnTo>
                <a:lnTo>
                  <a:pt x="592747" y="282054"/>
                </a:lnTo>
                <a:lnTo>
                  <a:pt x="587959" y="267398"/>
                </a:lnTo>
                <a:lnTo>
                  <a:pt x="584238" y="256006"/>
                </a:lnTo>
                <a:lnTo>
                  <a:pt x="582625" y="256006"/>
                </a:lnTo>
                <a:lnTo>
                  <a:pt x="582625" y="282054"/>
                </a:lnTo>
                <a:lnTo>
                  <a:pt x="573379" y="282054"/>
                </a:lnTo>
                <a:lnTo>
                  <a:pt x="578218" y="267398"/>
                </a:lnTo>
                <a:lnTo>
                  <a:pt x="582625" y="282054"/>
                </a:lnTo>
                <a:lnTo>
                  <a:pt x="582625" y="256006"/>
                </a:lnTo>
                <a:lnTo>
                  <a:pt x="572147" y="256006"/>
                </a:lnTo>
                <a:lnTo>
                  <a:pt x="559244" y="295478"/>
                </a:lnTo>
                <a:lnTo>
                  <a:pt x="569353" y="295478"/>
                </a:lnTo>
                <a:lnTo>
                  <a:pt x="571334" y="289788"/>
                </a:lnTo>
                <a:lnTo>
                  <a:pt x="585050" y="289788"/>
                </a:lnTo>
                <a:lnTo>
                  <a:pt x="586663" y="295478"/>
                </a:lnTo>
                <a:lnTo>
                  <a:pt x="597141" y="295478"/>
                </a:lnTo>
                <a:close/>
              </a:path>
              <a:path w="737870" h="296545">
                <a:moveTo>
                  <a:pt x="640295" y="287743"/>
                </a:moveTo>
                <a:lnTo>
                  <a:pt x="627773" y="287743"/>
                </a:lnTo>
                <a:lnTo>
                  <a:pt x="627773" y="256006"/>
                </a:lnTo>
                <a:lnTo>
                  <a:pt x="618096" y="256006"/>
                </a:lnTo>
                <a:lnTo>
                  <a:pt x="618096" y="295478"/>
                </a:lnTo>
                <a:lnTo>
                  <a:pt x="640295" y="295478"/>
                </a:lnTo>
                <a:lnTo>
                  <a:pt x="640295" y="287743"/>
                </a:lnTo>
                <a:close/>
              </a:path>
              <a:path w="737870" h="296545">
                <a:moveTo>
                  <a:pt x="695121" y="84251"/>
                </a:moveTo>
                <a:lnTo>
                  <a:pt x="660882" y="84251"/>
                </a:lnTo>
                <a:lnTo>
                  <a:pt x="637501" y="158330"/>
                </a:lnTo>
                <a:lnTo>
                  <a:pt x="637070" y="158330"/>
                </a:lnTo>
                <a:lnTo>
                  <a:pt x="613689" y="84251"/>
                </a:lnTo>
                <a:lnTo>
                  <a:pt x="579399" y="84251"/>
                </a:lnTo>
                <a:lnTo>
                  <a:pt x="620953" y="196176"/>
                </a:lnTo>
                <a:lnTo>
                  <a:pt x="608850" y="227926"/>
                </a:lnTo>
                <a:lnTo>
                  <a:pt x="641540" y="227926"/>
                </a:lnTo>
                <a:lnTo>
                  <a:pt x="667499" y="158330"/>
                </a:lnTo>
                <a:lnTo>
                  <a:pt x="695121" y="84251"/>
                </a:lnTo>
                <a:close/>
              </a:path>
              <a:path w="737870" h="296545">
                <a:moveTo>
                  <a:pt x="712063" y="0"/>
                </a:moveTo>
                <a:lnTo>
                  <a:pt x="695934" y="0"/>
                </a:lnTo>
                <a:lnTo>
                  <a:pt x="695934" y="4076"/>
                </a:lnTo>
                <a:lnTo>
                  <a:pt x="701573" y="4076"/>
                </a:lnTo>
                <a:lnTo>
                  <a:pt x="701573" y="22390"/>
                </a:lnTo>
                <a:lnTo>
                  <a:pt x="706043" y="22390"/>
                </a:lnTo>
                <a:lnTo>
                  <a:pt x="706043" y="4076"/>
                </a:lnTo>
                <a:lnTo>
                  <a:pt x="712063" y="4076"/>
                </a:lnTo>
                <a:lnTo>
                  <a:pt x="712063" y="0"/>
                </a:lnTo>
                <a:close/>
              </a:path>
              <a:path w="737870" h="296545">
                <a:moveTo>
                  <a:pt x="737857" y="0"/>
                </a:moveTo>
                <a:lnTo>
                  <a:pt x="733018" y="0"/>
                </a:lnTo>
                <a:lnTo>
                  <a:pt x="726567" y="15468"/>
                </a:lnTo>
                <a:lnTo>
                  <a:pt x="723341" y="7734"/>
                </a:lnTo>
                <a:lnTo>
                  <a:pt x="720115" y="0"/>
                </a:lnTo>
                <a:lnTo>
                  <a:pt x="715289" y="0"/>
                </a:lnTo>
                <a:lnTo>
                  <a:pt x="715289" y="22390"/>
                </a:lnTo>
                <a:lnTo>
                  <a:pt x="719315" y="22390"/>
                </a:lnTo>
                <a:lnTo>
                  <a:pt x="719315" y="7734"/>
                </a:lnTo>
                <a:lnTo>
                  <a:pt x="719747" y="7734"/>
                </a:lnTo>
                <a:lnTo>
                  <a:pt x="725385" y="22390"/>
                </a:lnTo>
                <a:lnTo>
                  <a:pt x="727811" y="22390"/>
                </a:lnTo>
                <a:lnTo>
                  <a:pt x="730656" y="15468"/>
                </a:lnTo>
                <a:lnTo>
                  <a:pt x="733831" y="7734"/>
                </a:lnTo>
                <a:lnTo>
                  <a:pt x="733831" y="22390"/>
                </a:lnTo>
                <a:lnTo>
                  <a:pt x="737857" y="22390"/>
                </a:lnTo>
                <a:lnTo>
                  <a:pt x="737857" y="7734"/>
                </a:lnTo>
                <a:lnTo>
                  <a:pt x="737857" y="0"/>
                </a:lnTo>
                <a:close/>
              </a:path>
            </a:pathLst>
          </a:custGeom>
          <a:solidFill>
            <a:srgbClr val="006092"/>
          </a:solidFill>
        </p:spPr>
        <p:txBody>
          <a:bodyPr wrap="square" lIns="0" tIns="0" rIns="0" bIns="0" rtlCol="0"/>
          <a:lstStyle/>
          <a:p/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11" name="object 4"/>
          <p:cNvSpPr/>
          <p:nvPr/>
        </p:nvSpPr>
        <p:spPr>
          <a:xfrm>
            <a:off x="0" y="-9063"/>
            <a:ext cx="9144000" cy="2334895"/>
          </a:xfrm>
          <a:custGeom>
            <a:avLst/>
            <a:gdLst/>
            <a:ahLst/>
            <a:cxnLst/>
            <a:rect l="l" t="t" r="r" b="b"/>
            <a:pathLst>
              <a:path w="9144000" h="2334895">
                <a:moveTo>
                  <a:pt x="9144000" y="0"/>
                </a:moveTo>
                <a:lnTo>
                  <a:pt x="0" y="0"/>
                </a:lnTo>
                <a:lnTo>
                  <a:pt x="0" y="2334768"/>
                </a:lnTo>
                <a:lnTo>
                  <a:pt x="9144000" y="2334768"/>
                </a:lnTo>
                <a:lnTo>
                  <a:pt x="9144000" y="0"/>
                </a:lnTo>
                <a:close/>
              </a:path>
            </a:pathLst>
          </a:custGeom>
          <a:solidFill>
            <a:srgbClr val="094D80"/>
          </a:solidFill>
        </p:spPr>
        <p:txBody>
          <a:bodyPr wrap="square" lIns="0" tIns="0" rIns="0" bIns="0" rtlCol="0"/>
          <a:lstStyle/>
          <a:p/>
        </p:txBody>
      </p:sp>
      <p:sp>
        <p:nvSpPr>
          <p:cNvPr id="12" name="object 9"/>
          <p:cNvSpPr txBox="1"/>
          <p:nvPr/>
        </p:nvSpPr>
        <p:spPr>
          <a:xfrm>
            <a:off x="533400" y="1276350"/>
            <a:ext cx="5835704" cy="11626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lvl1pPr>
              <a:defRPr sz="2400" b="1" i="0">
                <a:solidFill>
                  <a:srgbClr val="094D80"/>
                </a:solidFill>
                <a:latin typeface="Arial" panose="020B0604020202020204"/>
                <a:ea typeface="+mj-ea"/>
                <a:cs typeface="Arial" panose="020B0604020202020204"/>
              </a:defRPr>
            </a:lvl1pPr>
          </a:lstStyle>
          <a:p>
            <a:pPr marL="12700">
              <a:spcBef>
                <a:spcPts val="95"/>
              </a:spcBef>
            </a:pPr>
            <a:r>
              <a:rPr lang="en-AU" sz="2200" kern="0" spc="-5" dirty="0">
                <a:solidFill>
                  <a:srgbClr val="FFFFFF"/>
                </a:solidFill>
              </a:rPr>
              <a:t>Fidelity</a:t>
            </a:r>
            <a:br>
              <a:rPr lang="en-AU" sz="2200" kern="0" spc="-5" dirty="0">
                <a:solidFill>
                  <a:srgbClr val="FFFFFF"/>
                </a:solidFill>
              </a:rPr>
            </a:br>
            <a:r>
              <a:rPr lang="en-AU" sz="1400" kern="0" spc="-5" dirty="0">
                <a:solidFill>
                  <a:srgbClr val="FFFFFF"/>
                </a:solidFill>
              </a:rPr>
              <a:t>Virtual Experience Program</a:t>
            </a:r>
            <a:br>
              <a:rPr lang="en-AU" sz="1400" kern="0" spc="-5" dirty="0">
                <a:solidFill>
                  <a:srgbClr val="FFFFFF"/>
                </a:solidFill>
              </a:rPr>
            </a:br>
            <a:br>
              <a:rPr lang="en-AU" sz="1400" kern="0" spc="-5" dirty="0">
                <a:solidFill>
                  <a:srgbClr val="FFFFFF"/>
                </a:solidFill>
              </a:rPr>
            </a:br>
            <a:r>
              <a:rPr lang="en-GB" sz="1200" b="0" kern="0" spc="-5" dirty="0">
                <a:solidFill>
                  <a:srgbClr val="FFFFFF"/>
                </a:solidFill>
              </a:rPr>
              <a:t>Task 6 </a:t>
            </a:r>
            <a:endParaRPr lang="en-GB" sz="1200" b="0" kern="0" spc="-5" dirty="0">
              <a:solidFill>
                <a:srgbClr val="FFFFFF"/>
              </a:solidFill>
            </a:endParaRPr>
          </a:p>
          <a:p>
            <a:pPr marL="12700">
              <a:spcBef>
                <a:spcPts val="95"/>
              </a:spcBef>
            </a:pPr>
            <a:endParaRPr lang="en-GB" sz="1200" b="0" kern="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Picture 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bject 2"/>
          <p:cNvSpPr txBox="1">
            <a:spLocks noGrp="1"/>
          </p:cNvSpPr>
          <p:nvPr>
            <p:ph type="title"/>
          </p:nvPr>
        </p:nvSpPr>
        <p:spPr>
          <a:xfrm>
            <a:off x="90805" y="233045"/>
            <a:ext cx="8748395" cy="320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AU" sz="2000" spc="-10" dirty="0"/>
              <a:t>Overview of Key Digital Trends</a:t>
            </a:r>
            <a:endParaRPr lang="en-AU" sz="2000" spc="-10" dirty="0"/>
          </a:p>
        </p:txBody>
      </p:sp>
      <p:graphicFrame>
        <p:nvGraphicFramePr>
          <p:cNvPr id="7" name="Table 7"/>
          <p:cNvGraphicFramePr>
            <a:graphicFrameLocks noGrp="1"/>
          </p:cNvGraphicFramePr>
          <p:nvPr/>
        </p:nvGraphicFramePr>
        <p:xfrm>
          <a:off x="90170" y="553085"/>
          <a:ext cx="6387465" cy="4994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36700"/>
                <a:gridCol w="4850765"/>
              </a:tblGrid>
              <a:tr h="245745">
                <a:tc>
                  <a:txBody>
                    <a:bodyPr/>
                    <a:lstStyle/>
                    <a:p>
                      <a:r>
                        <a:rPr lang="en-AU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nd</a:t>
                      </a:r>
                      <a:endParaRPr lang="en-A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94D8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  <a:endParaRPr lang="en-A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094D80"/>
                    </a:solidFill>
                  </a:tcPr>
                </a:tc>
              </a:tr>
              <a:tr h="1428115">
                <a:tc>
                  <a:txBody>
                    <a:bodyPr/>
                    <a:lstStyle/>
                    <a:p>
                      <a:r>
                        <a:rPr lang="en-AU" sz="1000" b="1" dirty="0">
                          <a:solidFill>
                            <a:srgbClr val="094D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gital Financial Ecosystems of </a:t>
                      </a:r>
                      <a:br>
                        <a:rPr lang="en-AU" sz="1000" b="1" dirty="0">
                          <a:solidFill>
                            <a:srgbClr val="094D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AU" sz="1000" b="1" dirty="0">
                          <a:solidFill>
                            <a:srgbClr val="094D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ch Giants</a:t>
                      </a:r>
                      <a:endParaRPr lang="en-AU" sz="1000" b="1" dirty="0">
                        <a:solidFill>
                          <a:srgbClr val="094D8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AU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jor Chinese technology companies, such as Ant Financial and Tencent, have ventured into financial services through digital payment solutions, establishing substantial user bases within their ecosystems.</a:t>
                      </a:r>
                      <a:endParaRPr lang="en-AU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1450" indent="-171450">
                        <a:lnSpc>
                          <a:spcPct val="10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AU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se companies have evolved into comprehensive financial platforms, now providing online fund distribution that allows firms to sell their funds directly to the tech giants' users.</a:t>
                      </a:r>
                      <a:endParaRPr lang="en-AU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1450" indent="-171450">
                        <a:lnSpc>
                          <a:spcPct val="10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AU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is trend capitalizes on the scale, user base, product offerings, and accessibility provided by these tech giants.</a:t>
                      </a:r>
                      <a:endParaRPr lang="en-AU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06805">
                <a:tc>
                  <a:txBody>
                    <a:bodyPr/>
                    <a:lstStyle/>
                    <a:p>
                      <a:r>
                        <a:rPr lang="en-AU" sz="1000" b="1" dirty="0">
                          <a:solidFill>
                            <a:srgbClr val="094D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Rise of Digital Fund Marketing</a:t>
                      </a:r>
                      <a:endParaRPr lang="en-AU" sz="1000" b="1" dirty="0">
                        <a:solidFill>
                          <a:srgbClr val="094D8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defTabSz="914400" eaLnBrk="1" fontAlgn="auto" latinLnBrk="0" hangingPunct="1">
                        <a:lnSpc>
                          <a:spcPct val="10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defRPr/>
                      </a:pPr>
                      <a:r>
                        <a:rPr lang="en-AU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national fund managers are enhancing their branding efforts in China through online channels.</a:t>
                      </a:r>
                      <a:endParaRPr lang="en-AU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defTabSz="914400" eaLnBrk="1" fontAlgn="auto" latinLnBrk="0" hangingPunct="1">
                        <a:lnSpc>
                          <a:spcPct val="10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defRPr/>
                      </a:pPr>
                      <a:r>
                        <a:rPr lang="en-AU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re is an opportunity to educate investors and share market insights (e.g., via WeChat) prior to launching a fully-owned mutual fund in China.</a:t>
                      </a:r>
                      <a:endParaRPr lang="en-AU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defTabSz="914400" eaLnBrk="1" fontAlgn="auto" latinLnBrk="0" hangingPunct="1">
                        <a:lnSpc>
                          <a:spcPct val="10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defRPr/>
                      </a:pPr>
                      <a:r>
                        <a:rPr lang="en-AU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tilizing online platforms reduces costs and enables access to previously unreachable clients.</a:t>
                      </a:r>
                      <a:endParaRPr lang="en-AU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20750">
                <a:tc>
                  <a:txBody>
                    <a:bodyPr/>
                    <a:lstStyle/>
                    <a:p>
                      <a:r>
                        <a:rPr lang="en-AU" sz="1000" b="1" dirty="0">
                          <a:solidFill>
                            <a:srgbClr val="094D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VID-Induced Digital Acceleration</a:t>
                      </a:r>
                      <a:endParaRPr lang="en-AU" sz="1000" b="1" dirty="0">
                        <a:solidFill>
                          <a:srgbClr val="094D8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defTabSz="914400" eaLnBrk="1" fontAlgn="auto" latinLnBrk="0" hangingPunct="1">
                        <a:lnSpc>
                          <a:spcPct val="10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defRPr/>
                      </a:pPr>
                      <a:r>
                        <a:rPr kumimoji="0" lang="en-AU" sz="10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 COVID-19 pandemic has expedited the digital transformation of wealth management, leading to an increase in online workshops and inflows to digital platforms.</a:t>
                      </a:r>
                      <a:endParaRPr kumimoji="0" lang="en-AU" sz="10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defTabSz="914400" eaLnBrk="1" fontAlgn="auto" latinLnBrk="0" hangingPunct="1">
                        <a:lnSpc>
                          <a:spcPct val="10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defRPr/>
                      </a:pPr>
                      <a:r>
                        <a:rPr kumimoji="0" lang="en-AU" sz="10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 largest fund managers in China are now leveraging online platforms to sell their funds directly to users.</a:t>
                      </a:r>
                      <a:endParaRPr kumimoji="0" lang="en-AU" sz="10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92860">
                <a:tc>
                  <a:txBody>
                    <a:bodyPr/>
                    <a:lstStyle/>
                    <a:p>
                      <a:r>
                        <a:rPr lang="en-AU" sz="1000" b="1" dirty="0">
                          <a:solidFill>
                            <a:srgbClr val="094D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inued Pan-Regional Digitisation</a:t>
                      </a:r>
                      <a:endParaRPr lang="en-AU" sz="1000" b="1" dirty="0">
                        <a:solidFill>
                          <a:srgbClr val="094D8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defTabSz="914400" eaLnBrk="1" fontAlgn="auto" latinLnBrk="0" hangingPunct="1">
                        <a:lnSpc>
                          <a:spcPct val="10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defRPr/>
                      </a:pPr>
                      <a:r>
                        <a:rPr kumimoji="0" lang="en-AU" sz="10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ngoing regional digitization is generating cost and time efficiencies, resulting in greater consumer surplus and increased participation from retail investors.</a:t>
                      </a:r>
                      <a:endParaRPr kumimoji="0" lang="en-AU" sz="10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defTabSz="914400" eaLnBrk="1" fontAlgn="auto" latinLnBrk="0" hangingPunct="1">
                        <a:lnSpc>
                          <a:spcPct val="10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defRPr/>
                      </a:pPr>
                      <a:r>
                        <a:rPr kumimoji="0" lang="en-AU" sz="10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 growing penetration of the Internet is expanding the reach to investors.</a:t>
                      </a:r>
                      <a:endParaRPr kumimoji="0" lang="en-AU" sz="10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defTabSz="914400" eaLnBrk="1" fontAlgn="auto" latinLnBrk="0" hangingPunct="1">
                        <a:lnSpc>
                          <a:spcPct val="10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defRPr/>
                      </a:pPr>
                      <a:r>
                        <a:rPr kumimoji="0" lang="en-AU" sz="10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mproved access is facilitated by lower minimum investment requirements.</a:t>
                      </a:r>
                      <a:endParaRPr kumimoji="0" lang="en-AU" sz="10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R="0" lvl="0" indent="0" defTabSz="914400" eaLnBrk="1" fontAlgn="auto" latinLnBrk="0" hangingPunct="1">
                        <a:lnSpc>
                          <a:spcPct val="10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endParaRPr kumimoji="0" lang="en-AU" sz="10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</a:tbl>
          </a:graphicData>
        </a:graphic>
      </p:graphicFrame>
      <p:sp>
        <p:nvSpPr>
          <p:cNvPr id="19" name="object 8"/>
          <p:cNvSpPr txBox="1"/>
          <p:nvPr/>
        </p:nvSpPr>
        <p:spPr>
          <a:xfrm>
            <a:off x="6758416" y="727035"/>
            <a:ext cx="2187918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AU" sz="1400" b="1" dirty="0">
                <a:solidFill>
                  <a:srgbClr val="094D80"/>
                </a:solidFill>
                <a:latin typeface="Arial" panose="020B0604020202020204"/>
                <a:cs typeface="Arial" panose="020B0604020202020204"/>
              </a:rPr>
              <a:t>Commentary</a:t>
            </a:r>
            <a:endParaRPr sz="1400" dirty="0">
              <a:latin typeface="Arial" panose="020B0604020202020204"/>
              <a:cs typeface="Arial" panose="020B0604020202020204"/>
            </a:endParaRPr>
          </a:p>
        </p:txBody>
      </p:sp>
      <p:sp>
        <p:nvSpPr>
          <p:cNvPr id="20" name="bg object 16"/>
          <p:cNvSpPr/>
          <p:nvPr/>
        </p:nvSpPr>
        <p:spPr>
          <a:xfrm rot="16200000">
            <a:off x="4422775" y="2740660"/>
            <a:ext cx="4465955" cy="76200"/>
          </a:xfrm>
          <a:custGeom>
            <a:avLst/>
            <a:gdLst/>
            <a:ahLst/>
            <a:cxnLst/>
            <a:rect l="l" t="t" r="r" b="b"/>
            <a:pathLst>
              <a:path w="9144000">
                <a:moveTo>
                  <a:pt x="0" y="0"/>
                </a:moveTo>
                <a:lnTo>
                  <a:pt x="9144000" y="0"/>
                </a:lnTo>
              </a:path>
            </a:pathLst>
          </a:custGeom>
          <a:ln w="9144">
            <a:solidFill>
              <a:srgbClr val="094D80"/>
            </a:solidFill>
          </a:ln>
        </p:spPr>
        <p:txBody>
          <a:bodyPr wrap="square" lIns="0" tIns="0" rIns="0" bIns="0" rtlCol="0"/>
          <a:lstStyle/>
          <a:p/>
        </p:txBody>
      </p:sp>
      <p:sp>
        <p:nvSpPr>
          <p:cNvPr id="4" name="TextBox 2"/>
          <p:cNvSpPr txBox="1"/>
          <p:nvPr/>
        </p:nvSpPr>
        <p:spPr>
          <a:xfrm>
            <a:off x="6758416" y="1037944"/>
            <a:ext cx="2187918" cy="2522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  <a:spcBef>
                <a:spcPts val="200"/>
              </a:spcBef>
              <a:spcAft>
                <a:spcPts val="400"/>
              </a:spcAft>
            </a:pPr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</a:rPr>
              <a:t>The Sales &amp; Marketing team can leverage key digital trends in regional fund management by:</a:t>
            </a:r>
            <a:endParaRPr lang="en-A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110000"/>
              </a:lnSpc>
              <a:spcBef>
                <a:spcPts val="200"/>
              </a:spcBef>
              <a:spcAft>
                <a:spcPts val="400"/>
              </a:spcAft>
              <a:buFont typeface="Wingdings" panose="05000000000000000000" pitchFamily="2" charset="2"/>
              <a:buChar char="§"/>
            </a:pPr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</a:rPr>
              <a:t>Integrating with the all-in-one financial platforms of tech giants to better connect with Chinese investors.</a:t>
            </a:r>
            <a:endParaRPr lang="en-A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110000"/>
              </a:lnSpc>
              <a:spcBef>
                <a:spcPts val="200"/>
              </a:spcBef>
              <a:spcAft>
                <a:spcPts val="400"/>
              </a:spcAft>
              <a:buFont typeface="Wingdings" panose="05000000000000000000" pitchFamily="2" charset="2"/>
              <a:buChar char="§"/>
            </a:pPr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</a:rPr>
              <a:t>Utilizing digital marketing channels like WeChat to boost brand visibility.</a:t>
            </a:r>
            <a:endParaRPr lang="en-A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110000"/>
              </a:lnSpc>
              <a:spcBef>
                <a:spcPts val="200"/>
              </a:spcBef>
              <a:spcAft>
                <a:spcPts val="400"/>
              </a:spcAft>
              <a:buFont typeface="Wingdings" panose="05000000000000000000" pitchFamily="2" charset="2"/>
              <a:buChar char="§"/>
            </a:pPr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</a:rPr>
              <a:t>Engaging potential clients by providing market insights and investor education.</a:t>
            </a:r>
            <a:endParaRPr lang="en-A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UNDODONOTDELETE" val="0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415363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013</Words>
  <Application>WPS Presentation</Application>
  <PresentationFormat>On-screen Show (16:9)</PresentationFormat>
  <Paragraphs>40</Paragraphs>
  <Slides>2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3</vt:i4>
      </vt:variant>
      <vt:variant>
        <vt:lpstr>幻灯片标题</vt:lpstr>
      </vt:variant>
      <vt:variant>
        <vt:i4>2</vt:i4>
      </vt:variant>
    </vt:vector>
  </HeadingPairs>
  <TitlesOfParts>
    <vt:vector size="16" baseType="lpstr">
      <vt:lpstr>Arial</vt:lpstr>
      <vt:lpstr>SimSun</vt:lpstr>
      <vt:lpstr>Wingdings</vt:lpstr>
      <vt:lpstr>Arial</vt:lpstr>
      <vt:lpstr>Calibri</vt:lpstr>
      <vt:lpstr>Helvetica Neue</vt:lpstr>
      <vt:lpstr>Microsoft YaHei</vt:lpstr>
      <vt:lpstr>汉仪旗黑</vt:lpstr>
      <vt:lpstr>Arial Unicode MS</vt:lpstr>
      <vt:lpstr>宋体-简</vt:lpstr>
      <vt:lpstr>Office Theme</vt:lpstr>
      <vt:lpstr>TCLayout.ActiveDocument.1</vt:lpstr>
      <vt:lpstr>TCLayout.ActiveDocument.1</vt:lpstr>
      <vt:lpstr>TCLayout.ActiveDocument.1</vt:lpstr>
      <vt:lpstr>PowerPoint 演示文稿</vt:lpstr>
      <vt:lpstr>Overview of Key Digital Trend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>Fi kri</cp:lastModifiedBy>
  <cp:revision>2</cp:revision>
  <dcterms:created xsi:type="dcterms:W3CDTF">2025-01-18T04:45:26Z</dcterms:created>
  <dcterms:modified xsi:type="dcterms:W3CDTF">2025-01-18T04:45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1033-5.7.1.8093</vt:lpwstr>
  </property>
</Properties>
</file>